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31"/>
  </p:notesMasterIdLst>
  <p:sldIdLst>
    <p:sldId id="302" r:id="rId7"/>
    <p:sldId id="304" r:id="rId8"/>
    <p:sldId id="359" r:id="rId9"/>
    <p:sldId id="305" r:id="rId10"/>
    <p:sldId id="336" r:id="rId11"/>
    <p:sldId id="325" r:id="rId12"/>
    <p:sldId id="328" r:id="rId13"/>
    <p:sldId id="329" r:id="rId14"/>
    <p:sldId id="330" r:id="rId15"/>
    <p:sldId id="331" r:id="rId16"/>
    <p:sldId id="332" r:id="rId17"/>
    <p:sldId id="333" r:id="rId18"/>
    <p:sldId id="327" r:id="rId19"/>
    <p:sldId id="335" r:id="rId20"/>
    <p:sldId id="357" r:id="rId21"/>
    <p:sldId id="358" r:id="rId22"/>
    <p:sldId id="306" r:id="rId23"/>
    <p:sldId id="320" r:id="rId24"/>
    <p:sldId id="314" r:id="rId25"/>
    <p:sldId id="315" r:id="rId26"/>
    <p:sldId id="316" r:id="rId27"/>
    <p:sldId id="317" r:id="rId28"/>
    <p:sldId id="318" r:id="rId29"/>
    <p:sldId id="319" r:id="rId30"/>
  </p:sldIdLst>
  <p:sldSz cx="12192000" cy="6858000"/>
  <p:notesSz cx="6858000" cy="914400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BAC57DD3-D6D1-477A-B31D-328E766A98A7}">
          <p14:sldIdLst>
            <p14:sldId id="302"/>
            <p14:sldId id="304"/>
            <p14:sldId id="359"/>
            <p14:sldId id="305"/>
            <p14:sldId id="336"/>
            <p14:sldId id="325"/>
            <p14:sldId id="328"/>
            <p14:sldId id="329"/>
            <p14:sldId id="330"/>
            <p14:sldId id="331"/>
            <p14:sldId id="332"/>
            <p14:sldId id="333"/>
            <p14:sldId id="327"/>
            <p14:sldId id="335"/>
            <p14:sldId id="357"/>
            <p14:sldId id="358"/>
          </p14:sldIdLst>
        </p14:section>
        <p14:section name="Leere Folien" id="{E863CE58-3DE2-467E-95FB-D09129F3166C}">
          <p14:sldIdLst>
            <p14:sldId id="306"/>
            <p14:sldId id="320"/>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hoff Annalena" initials="BA" lastIdx="12" clrIdx="0">
    <p:extLst>
      <p:ext uri="{19B8F6BF-5375-455C-9EA6-DF929625EA0E}">
        <p15:presenceInfo xmlns:p15="http://schemas.microsoft.com/office/powerpoint/2012/main" userId="S-1-5-21-2006274056-1010123383-2343387302-11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39324"/>
    <a:srgbClr val="E6E6E6"/>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34" autoAdjust="0"/>
    <p:restoredTop sz="59884" autoAdjust="0"/>
  </p:normalViewPr>
  <p:slideViewPr>
    <p:cSldViewPr snapToGrid="0" showGuides="1">
      <p:cViewPr varScale="1">
        <p:scale>
          <a:sx n="69" d="100"/>
          <a:sy n="69" d="100"/>
        </p:scale>
        <p:origin x="2538" y="60"/>
      </p:cViewPr>
      <p:guideLst>
        <p:guide pos="3840"/>
        <p:guide orient="horz" pos="1049"/>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p:scale>
          <a:sx n="66" d="100"/>
          <a:sy n="66" d="100"/>
        </p:scale>
        <p:origin x="4290" y="7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medien-in-der-familie"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medien-in-der-familie-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ebis.bycs.de/beitrag/medien-in-der-familie-elter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medien-in-der-famili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stiftung-medienpaedagogik-bayern.de/externalContent/schaubilder-elternarbeit/Online/index.html#/5-prinzipien-der-medienerziehu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ebis.bycs.de/beitrag/medien-in-der-familie-elter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defRPr/>
            </a:pPr>
            <a:r>
              <a:rPr lang="de-DE" sz="1100" b="1" dirty="0" smtClean="0">
                <a:latin typeface="Arial" panose="020B0604020202020204" pitchFamily="34" charset="0"/>
                <a:cs typeface="Arial" panose="020B0604020202020204" pitchFamily="34" charset="0"/>
              </a:rPr>
              <a:t>Medien in der Familie / </a:t>
            </a:r>
            <a:r>
              <a:rPr lang="de-DE" b="1" dirty="0" smtClean="0"/>
              <a:t>Medienerziehung </a:t>
            </a:r>
            <a:r>
              <a:rPr lang="de-DE" b="1" dirty="0"/>
              <a:t>im </a:t>
            </a:r>
            <a:r>
              <a:rPr lang="de-DE" b="1" dirty="0" smtClean="0"/>
              <a:t>Alltag / </a:t>
            </a:r>
            <a:r>
              <a:rPr lang="de-DE" sz="1100" b="1" dirty="0" smtClean="0">
                <a:latin typeface="Arial" panose="020B0604020202020204" pitchFamily="34" charset="0"/>
                <a:cs typeface="Arial" panose="020B0604020202020204" pitchFamily="34" charset="0"/>
              </a:rPr>
              <a:t>Titelfolie Medienerziehung</a:t>
            </a:r>
            <a:r>
              <a:rPr lang="de-DE" sz="1100" b="1" baseline="0" dirty="0" smtClean="0">
                <a:latin typeface="Arial" panose="020B0604020202020204" pitchFamily="34" charset="0"/>
                <a:cs typeface="Arial" panose="020B0604020202020204" pitchFamily="34" charset="0"/>
              </a:rPr>
              <a:t> im Alltag</a:t>
            </a:r>
            <a:endParaRPr lang="de-DE" sz="1100" b="1"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a:t>
            </a:r>
            <a:r>
              <a:rPr lang="de-DE" sz="1100" baseline="0" dirty="0" err="1" smtClean="0">
                <a:latin typeface="Arial" panose="020B0604020202020204" pitchFamily="34" charset="0"/>
                <a:cs typeface="Arial" panose="020B0604020202020204" pitchFamily="34" charset="0"/>
              </a:rPr>
              <a:t>mebis</a:t>
            </a:r>
            <a:r>
              <a:rPr lang="de-DE" sz="1100" baseline="0" dirty="0" smtClean="0">
                <a:latin typeface="Arial" panose="020B0604020202020204" pitchFamily="34" charset="0"/>
                <a:cs typeface="Arial" panose="020B0604020202020204" pitchFamily="34" charset="0"/>
              </a:rPr>
              <a:t>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Medien in der Familie“</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a:t>
            </a:r>
            <a:r>
              <a:rPr lang="de-DE" sz="1100" baseline="0" dirty="0" err="1" smtClean="0">
                <a:latin typeface="Arial" panose="020B0604020202020204" pitchFamily="34" charset="0"/>
                <a:cs typeface="Arial" panose="020B0604020202020204" pitchFamily="34" charset="0"/>
              </a:rPr>
              <a:t>mebis</a:t>
            </a:r>
            <a:r>
              <a:rPr lang="de-DE" sz="1100" baseline="0" dirty="0" smtClean="0">
                <a:latin typeface="Arial" panose="020B0604020202020204" pitchFamily="34" charset="0"/>
                <a:cs typeface="Arial" panose="020B0604020202020204" pitchFamily="34" charset="0"/>
              </a:rPr>
              <a:t>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br>
              <a:rPr lang="de-DE" sz="1100" baseline="0" dirty="0" smtClean="0">
                <a:latin typeface="Arial" panose="020B0604020202020204" pitchFamily="34" charset="0"/>
                <a:cs typeface="Arial" panose="020B0604020202020204" pitchFamily="34" charset="0"/>
              </a:rPr>
            </a:b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Medien in der Familie“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medien-in-der-familie</a:t>
            </a:r>
            <a:r>
              <a:rPr lang="de-DE" sz="1100" b="1" baseline="0" dirty="0" smtClean="0">
                <a:latin typeface="Arial" panose="020B0604020202020204" pitchFamily="34" charset="0"/>
                <a:cs typeface="Arial" panose="020B0604020202020204" pitchFamily="34" charset="0"/>
              </a:rPr>
              <a:t> </a:t>
            </a:r>
          </a:p>
          <a:p>
            <a:r>
              <a:rPr lang="de-DE" sz="1100" baseline="0" dirty="0" smtClean="0">
                <a:latin typeface="Arial" panose="020B0604020202020204" pitchFamily="34" charset="0"/>
                <a:cs typeface="Arial" panose="020B0604020202020204" pitchFamily="34" charset="0"/>
              </a:rPr>
              <a:t/>
            </a:r>
            <a:br>
              <a:rPr lang="de-DE" sz="1100" baseline="0" dirty="0" smtClean="0">
                <a:latin typeface="Arial" panose="020B0604020202020204" pitchFamily="34" charset="0"/>
                <a:cs typeface="Arial" panose="020B0604020202020204" pitchFamily="34" charset="0"/>
              </a:rPr>
            </a:b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medien-in-der-familie-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sz="1100" b="1" i="0" baseline="0" dirty="0" smtClean="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3630924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Praxisbeispiel „Matias recherchiert für die Schule“</a:t>
            </a:r>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29989211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Praxisbeispiel „Matias recherchiert für die Schule“</a:t>
            </a:r>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2071261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Praxisbeispiel „Matias recherchiert für die Schule“</a:t>
            </a:r>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29641372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Handlungstipps zur Informationssuch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lvl="0">
              <a:defRPr/>
            </a:pPr>
            <a:r>
              <a:rPr lang="de-DE" dirty="0" smtClean="0"/>
              <a:t>Bitte beachten Sie auch die ausführlichen Handlungstipps für Erziehungsberechtigte, diese finden Sie unter folgendem Link:</a:t>
            </a:r>
            <a:br>
              <a:rPr lang="de-DE" dirty="0" smtClean="0"/>
            </a:br>
            <a:r>
              <a:rPr lang="de-DE" dirty="0" smtClean="0">
                <a:hlinkClick r:id="rId3"/>
              </a:rPr>
              <a:t>https://mebis.bycs.de/beitrag/medien-in-der-familie-eltern</a:t>
            </a:r>
            <a:r>
              <a:rPr lang="de-DE" dirty="0" smtClean="0"/>
              <a:t> </a:t>
            </a:r>
          </a:p>
          <a:p>
            <a:pPr lvl="0">
              <a:defRPr/>
            </a:pPr>
            <a:endParaRPr lang="de-DE"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a:t>
            </a:r>
            <a:r>
              <a:rPr lang="de-DE" baseline="0" smtClean="0"/>
              <a:t>Durch Klick auf den QR-Code können Sie das Dokument öffnen und den Eltern zeigen.</a:t>
            </a:r>
            <a:endParaRPr lang="de-DE"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2527974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Praxisbeispiel „Faktenche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Praxisbeispiel zur Glaubwürdigkeit von Informationen:</a:t>
            </a:r>
            <a:r>
              <a:rPr lang="de-DE" dirty="0" smtClean="0"/>
              <a:t> </a:t>
            </a:r>
            <a:br>
              <a:rPr lang="de-DE" dirty="0" smtClean="0"/>
            </a:br>
            <a:r>
              <a:rPr lang="de-DE" baseline="0" dirty="0" smtClean="0"/>
              <a:t>Zur Gegenüberstellung müssen im Vorfeld Beispiele für seriöse und unseriöse Quellen gesucht werden, die mit den Eltern besprochen werden können. </a:t>
            </a:r>
            <a:br>
              <a:rPr lang="de-DE" baseline="0" dirty="0" smtClean="0"/>
            </a:br>
            <a:r>
              <a:rPr lang="de-DE" baseline="0" dirty="0" smtClean="0"/>
              <a:t>Zur Vorbereitung und Durchführung beachten Sie bitte auch die Anleitung für das Praxisbeispiel </a:t>
            </a:r>
            <a:r>
              <a:rPr lang="de-DE" dirty="0" smtClean="0"/>
              <a:t>„Faktencheck“ </a:t>
            </a:r>
            <a:r>
              <a:rPr lang="de-DE" baseline="0" dirty="0" smtClean="0"/>
              <a:t>im </a:t>
            </a:r>
            <a:r>
              <a:rPr lang="de-DE" baseline="0" dirty="0" err="1" smtClean="0"/>
              <a:t>mebis</a:t>
            </a:r>
            <a:r>
              <a:rPr lang="de-DE" baseline="0" dirty="0" smtClean="0"/>
              <a:t>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2139647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Weitere Informationen für Elt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a:t>
            </a:r>
            <a:r>
              <a:rPr lang="de-DE" baseline="0" dirty="0" err="1" smtClean="0"/>
              <a:t>mebis</a:t>
            </a:r>
            <a:r>
              <a:rPr lang="de-DE" baseline="0" dirty="0" smtClean="0"/>
              <a:t>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4277088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Impressum</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6</a:t>
            </a:fld>
            <a:endParaRPr lang="de-DE"/>
          </a:p>
        </p:txBody>
      </p:sp>
    </p:spTree>
    <p:extLst>
      <p:ext uri="{BB962C8B-B14F-4D97-AF65-F5344CB8AC3E}">
        <p14:creationId xmlns:p14="http://schemas.microsoft.com/office/powerpoint/2010/main" val="12353334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7</a:t>
            </a:fld>
            <a:endParaRPr lang="de-DE"/>
          </a:p>
        </p:txBody>
      </p:sp>
    </p:spTree>
    <p:extLst>
      <p:ext uri="{BB962C8B-B14F-4D97-AF65-F5344CB8AC3E}">
        <p14:creationId xmlns:p14="http://schemas.microsoft.com/office/powerpoint/2010/main" val="4917383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8</a:t>
            </a:fld>
            <a:endParaRPr lang="de-DE"/>
          </a:p>
        </p:txBody>
      </p:sp>
    </p:spTree>
    <p:extLst>
      <p:ext uri="{BB962C8B-B14F-4D97-AF65-F5344CB8AC3E}">
        <p14:creationId xmlns:p14="http://schemas.microsoft.com/office/powerpoint/2010/main" val="2115654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9</a:t>
            </a:fld>
            <a:endParaRPr lang="de-DE"/>
          </a:p>
        </p:txBody>
      </p:sp>
    </p:spTree>
    <p:extLst>
      <p:ext uri="{BB962C8B-B14F-4D97-AF65-F5344CB8AC3E}">
        <p14:creationId xmlns:p14="http://schemas.microsoft.com/office/powerpoint/2010/main" val="1415019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a:t>
            </a:r>
            <a:r>
              <a:rPr lang="de-DE" b="1" baseline="0" dirty="0" smtClean="0"/>
              <a:t> Einstiegsclip „Alle immer online? – Nutzung und Stellenwert im Familienallta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r>
              <a:rPr lang="de-DE" dirty="0" smtClean="0"/>
              <a:t>Dieser</a:t>
            </a:r>
            <a:r>
              <a:rPr lang="de-DE" baseline="0" dirty="0" smtClean="0"/>
              <a:t> </a:t>
            </a:r>
            <a:r>
              <a:rPr lang="de-DE" dirty="0" smtClean="0"/>
              <a:t>Clip befindet sich auch im </a:t>
            </a:r>
            <a:r>
              <a:rPr lang="de-DE" dirty="0" err="1" smtClean="0"/>
              <a:t>mebis</a:t>
            </a:r>
            <a:r>
              <a:rPr lang="de-DE" dirty="0" smtClean="0"/>
              <a:t> Magazin unter folgendem Link: </a:t>
            </a:r>
            <a:br>
              <a:rPr lang="de-DE" dirty="0" smtClean="0"/>
            </a:br>
            <a:r>
              <a:rPr lang="de-DE" dirty="0" smtClean="0">
                <a:hlinkClick r:id="rId3"/>
              </a:rPr>
              <a:t>https://mebis.bycs.de/beitrag/medien-in-der-familie</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41275830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20</a:t>
            </a:fld>
            <a:endParaRPr lang="de-DE"/>
          </a:p>
        </p:txBody>
      </p:sp>
    </p:spTree>
    <p:extLst>
      <p:ext uri="{BB962C8B-B14F-4D97-AF65-F5344CB8AC3E}">
        <p14:creationId xmlns:p14="http://schemas.microsoft.com/office/powerpoint/2010/main" val="34865100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21</a:t>
            </a:fld>
            <a:endParaRPr lang="de-DE"/>
          </a:p>
        </p:txBody>
      </p:sp>
    </p:spTree>
    <p:extLst>
      <p:ext uri="{BB962C8B-B14F-4D97-AF65-F5344CB8AC3E}">
        <p14:creationId xmlns:p14="http://schemas.microsoft.com/office/powerpoint/2010/main" val="19592956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22</a:t>
            </a:fld>
            <a:endParaRPr lang="de-DE"/>
          </a:p>
        </p:txBody>
      </p:sp>
    </p:spTree>
    <p:extLst>
      <p:ext uri="{BB962C8B-B14F-4D97-AF65-F5344CB8AC3E}">
        <p14:creationId xmlns:p14="http://schemas.microsoft.com/office/powerpoint/2010/main" val="27161650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23</a:t>
            </a:fld>
            <a:endParaRPr lang="de-DE"/>
          </a:p>
        </p:txBody>
      </p:sp>
    </p:spTree>
    <p:extLst>
      <p:ext uri="{BB962C8B-B14F-4D97-AF65-F5344CB8AC3E}">
        <p14:creationId xmlns:p14="http://schemas.microsoft.com/office/powerpoint/2010/main" val="4113835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24</a:t>
            </a:fld>
            <a:endParaRPr lang="de-DE"/>
          </a:p>
        </p:txBody>
      </p:sp>
    </p:spTree>
    <p:extLst>
      <p:ext uri="{BB962C8B-B14F-4D97-AF65-F5344CB8AC3E}">
        <p14:creationId xmlns:p14="http://schemas.microsoft.com/office/powerpoint/2010/main" val="3830666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Medien in der Familie / Medienerziehung im Alltag</a:t>
            </a:r>
            <a:r>
              <a:rPr lang="de-DE" b="1" baseline="0" dirty="0" smtClean="0"/>
              <a:t> / Titelfolie Themenpaket</a:t>
            </a:r>
            <a:endParaRPr lang="de-DE" b="1"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3839159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a:t>
            </a:r>
            <a:r>
              <a:rPr lang="de-DE" b="1" baseline="0" dirty="0" smtClean="0"/>
              <a:t> Impulsfragen </a:t>
            </a:r>
            <a:br>
              <a:rPr lang="de-DE" b="1" baseline="0" dirty="0" smtClean="0"/>
            </a:b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Weitere</a:t>
            </a:r>
            <a:r>
              <a:rPr lang="de-DE" baseline="0" dirty="0" smtClean="0"/>
              <a:t> mögliche Einstiegsfragen:</a:t>
            </a:r>
          </a:p>
          <a:p>
            <a:endParaRPr lang="de-DE" dirty="0" smtClean="0"/>
          </a:p>
          <a:p>
            <a:pPr marL="171450" indent="-171450">
              <a:buFont typeface="Arial" panose="020B0604020202020204" pitchFamily="34" charset="0"/>
              <a:buChar char="•"/>
            </a:pPr>
            <a:r>
              <a:rPr lang="de-DE" dirty="0" smtClean="0"/>
              <a:t>Was ist Ihnen im Umgang mit Medien wichtig? Worauf achten S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kern="1200" dirty="0" smtClean="0">
                <a:solidFill>
                  <a:schemeClr val="tx1">
                    <a:lumMod val="75000"/>
                    <a:lumOff val="25000"/>
                  </a:schemeClr>
                </a:solidFill>
                <a:effectLst/>
                <a:latin typeface="Arial" panose="020B0604020202020204" pitchFamily="34" charset="0"/>
                <a:ea typeface="Calibri" panose="020F0502020204030204" pitchFamily="34" charset="0"/>
                <a:cs typeface="Semikolon Plus"/>
              </a:rPr>
              <a:t>Welche Medien haben Sie zuhause? Wie viele? </a:t>
            </a:r>
            <a:endParaRPr lang="de-DE" sz="1100" kern="1200" dirty="0" smtClean="0">
              <a:solidFill>
                <a:schemeClr val="tx1">
                  <a:lumMod val="75000"/>
                  <a:lumOff val="25000"/>
                </a:schemeClr>
              </a:solidFill>
              <a:latin typeface="Arial" panose="020B0604020202020204" pitchFamily="34" charset="0"/>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de-DE" dirty="0" smtClean="0"/>
              <a:t>Gibt es in Ihrer Familie konkrete Regeln zur Mediennutzung? Wenn ja, welche?</a:t>
            </a:r>
          </a:p>
          <a:p>
            <a:pPr marL="171450" indent="-171450">
              <a:buFont typeface="Arial" panose="020B0604020202020204" pitchFamily="34" charset="0"/>
              <a:buChar char="•"/>
            </a:pP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657888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Praxisbeispiel „5 Prinzipien der Medienerziehung“ (Anklickbare</a:t>
            </a:r>
            <a:r>
              <a:rPr lang="de-DE" b="1" baseline="0" dirty="0" smtClean="0"/>
              <a:t> Grafik)</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5 Prinzipien der Medienerziehung“ </a:t>
            </a:r>
            <a:r>
              <a:rPr lang="de-DE" baseline="0" dirty="0" smtClean="0"/>
              <a:t>im </a:t>
            </a:r>
            <a:r>
              <a:rPr lang="de-DE" baseline="0" dirty="0" err="1" smtClean="0"/>
              <a:t>mebis</a:t>
            </a:r>
            <a:r>
              <a:rPr lang="de-DE" baseline="0" dirty="0" smtClean="0"/>
              <a:t>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baseline="0" dirty="0" smtClean="0"/>
              <a:t>Hinwei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baseline="0" dirty="0" smtClean="0"/>
              <a:t>Das Praxisbeispiel öffnet sich mit Klick auf den </a:t>
            </a:r>
            <a:r>
              <a:rPr lang="de-DE" b="0" baseline="0" dirty="0" err="1" smtClean="0"/>
              <a:t>Tabletbildschirm</a:t>
            </a:r>
            <a:r>
              <a:rPr lang="de-DE" b="0" baseline="0" dirty="0" smtClean="0"/>
              <a:t> automatisch im Brows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lternativ können Sie es über folgenden Link aufrufen:</a:t>
            </a:r>
            <a:r>
              <a:rPr lang="de-DE" dirty="0" smtClean="0"/>
              <a:t/>
            </a:r>
            <a:br>
              <a:rPr lang="de-DE" dirty="0" smtClean="0"/>
            </a:br>
            <a:r>
              <a:rPr lang="de-DE" dirty="0" smtClean="0">
                <a:hlinkClick r:id="rId3"/>
              </a:rPr>
              <a:t>https://www.stiftung-medienpaedagogik-bayern.de/externalContent/schaubilder-elternarbeit/Online/index.html#/5-prinzipien-der-medienerziehung</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3195159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Medien in der Familie / Medienerziehung im Alltag / Handlungstipps zur</a:t>
            </a:r>
            <a:r>
              <a:rPr lang="de-DE" b="1" baseline="0" dirty="0" smtClean="0"/>
              <a:t> Medienerziehung</a:t>
            </a:r>
            <a:endParaRPr lang="de-DE" b="1" dirty="0" smtClean="0"/>
          </a:p>
          <a:p>
            <a:endParaRPr lang="de-DE" dirty="0" smtClean="0"/>
          </a:p>
          <a:p>
            <a:pPr lvl="0">
              <a:defRPr/>
            </a:pPr>
            <a:r>
              <a:rPr lang="de-DE" dirty="0" smtClean="0"/>
              <a:t>Bitte beachten Sie auch die ausführlichen Handlungstipps für Erziehungsberechtigte, diese finden Sie unter folgendem Link:</a:t>
            </a:r>
            <a:br>
              <a:rPr lang="de-DE" dirty="0" smtClean="0"/>
            </a:br>
            <a:r>
              <a:rPr lang="de-DE" dirty="0" smtClean="0">
                <a:hlinkClick r:id="rId3"/>
              </a:rPr>
              <a:t>https://mebis.bycs.de/beitrag/medien-in-der-familie-eltern</a:t>
            </a:r>
            <a:r>
              <a:rPr lang="de-DE" dirty="0" smtClean="0"/>
              <a:t> </a:t>
            </a:r>
          </a:p>
          <a:p>
            <a:pPr lvl="0">
              <a:defRPr/>
            </a:pPr>
            <a:endParaRPr lang="de-DE"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6778174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Praxisbeispiel „Matias recherchiert für die Schule“</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Matias recherchiert für die Schule“ </a:t>
            </a:r>
            <a:r>
              <a:rPr lang="de-DE" baseline="0" dirty="0" smtClean="0"/>
              <a:t>im </a:t>
            </a:r>
            <a:r>
              <a:rPr lang="de-DE" baseline="0" dirty="0" err="1" smtClean="0"/>
              <a:t>mebis</a:t>
            </a:r>
            <a:r>
              <a:rPr lang="de-DE" baseline="0" dirty="0" smtClean="0"/>
              <a:t> Magazin.</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416608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Praxisbeispiel „Matias recherchiert für die Schule“</a:t>
            </a:r>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36470758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Medienerziehung im Alltag / Praxisbeispiel „Matias recherchiert für die Schule“</a:t>
            </a:r>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958385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70.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1">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2" name="Freihandform: Form 21">
            <a:extLst>
              <a:ext uri="{FF2B5EF4-FFF2-40B4-BE49-F238E27FC236}">
                <a16:creationId xmlns:a16="http://schemas.microsoft.com/office/drawing/2014/main" id="{091C7E79-76B9-62A9-3951-511EF3CFF776}"/>
              </a:ext>
            </a:extLst>
          </p:cNvPr>
          <p:cNvSpPr/>
          <p:nvPr/>
        </p:nvSpPr>
        <p:spPr>
          <a:xfrm>
            <a:off x="6127731" y="5994990"/>
            <a:ext cx="585985" cy="865646"/>
          </a:xfrm>
          <a:custGeom>
            <a:avLst/>
            <a:gdLst>
              <a:gd name="connsiteX0" fmla="*/ 0 w 585985"/>
              <a:gd name="connsiteY0" fmla="*/ 0 h 865646"/>
              <a:gd name="connsiteX1" fmla="*/ 430018 w 585985"/>
              <a:gd name="connsiteY1" fmla="*/ 0 h 865646"/>
              <a:gd name="connsiteX2" fmla="*/ 436292 w 585985"/>
              <a:gd name="connsiteY2" fmla="*/ 0 h 865646"/>
              <a:gd name="connsiteX3" fmla="*/ 445615 w 585985"/>
              <a:gd name="connsiteY3" fmla="*/ 0 h 865646"/>
              <a:gd name="connsiteX4" fmla="*/ 451889 w 585985"/>
              <a:gd name="connsiteY4" fmla="*/ 0 h 865646"/>
              <a:gd name="connsiteX5" fmla="*/ 461211 w 585985"/>
              <a:gd name="connsiteY5" fmla="*/ 3168 h 865646"/>
              <a:gd name="connsiteX6" fmla="*/ 467486 w 585985"/>
              <a:gd name="connsiteY6" fmla="*/ 3168 h 865646"/>
              <a:gd name="connsiteX7" fmla="*/ 476808 w 585985"/>
              <a:gd name="connsiteY7" fmla="*/ 6275 h 865646"/>
              <a:gd name="connsiteX8" fmla="*/ 483083 w 585985"/>
              <a:gd name="connsiteY8" fmla="*/ 9382 h 865646"/>
              <a:gd name="connsiteX9" fmla="*/ 489297 w 585985"/>
              <a:gd name="connsiteY9" fmla="*/ 9382 h 865646"/>
              <a:gd name="connsiteX10" fmla="*/ 498679 w 585985"/>
              <a:gd name="connsiteY10" fmla="*/ 12490 h 865646"/>
              <a:gd name="connsiteX11" fmla="*/ 504894 w 585985"/>
              <a:gd name="connsiteY11" fmla="*/ 15597 h 865646"/>
              <a:gd name="connsiteX12" fmla="*/ 511109 w 585985"/>
              <a:gd name="connsiteY12" fmla="*/ 21871 h 865646"/>
              <a:gd name="connsiteX13" fmla="*/ 517384 w 585985"/>
              <a:gd name="connsiteY13" fmla="*/ 24979 h 865646"/>
              <a:gd name="connsiteX14" fmla="*/ 523598 w 585985"/>
              <a:gd name="connsiteY14" fmla="*/ 28087 h 865646"/>
              <a:gd name="connsiteX15" fmla="*/ 529873 w 585985"/>
              <a:gd name="connsiteY15" fmla="*/ 31194 h 865646"/>
              <a:gd name="connsiteX16" fmla="*/ 536087 w 585985"/>
              <a:gd name="connsiteY16" fmla="*/ 37468 h 865646"/>
              <a:gd name="connsiteX17" fmla="*/ 539195 w 585985"/>
              <a:gd name="connsiteY17" fmla="*/ 40576 h 865646"/>
              <a:gd name="connsiteX18" fmla="*/ 545469 w 585985"/>
              <a:gd name="connsiteY18" fmla="*/ 46790 h 865646"/>
              <a:gd name="connsiteX19" fmla="*/ 551684 w 585985"/>
              <a:gd name="connsiteY19" fmla="*/ 53065 h 865646"/>
              <a:gd name="connsiteX20" fmla="*/ 554792 w 585985"/>
              <a:gd name="connsiteY20" fmla="*/ 56173 h 865646"/>
              <a:gd name="connsiteX21" fmla="*/ 561066 w 585985"/>
              <a:gd name="connsiteY21" fmla="*/ 62387 h 865646"/>
              <a:gd name="connsiteX22" fmla="*/ 564174 w 585985"/>
              <a:gd name="connsiteY22" fmla="*/ 68662 h 865646"/>
              <a:gd name="connsiteX23" fmla="*/ 567281 w 585985"/>
              <a:gd name="connsiteY23" fmla="*/ 74877 h 865646"/>
              <a:gd name="connsiteX24" fmla="*/ 570388 w 585985"/>
              <a:gd name="connsiteY24" fmla="*/ 81092 h 865646"/>
              <a:gd name="connsiteX25" fmla="*/ 573556 w 585985"/>
              <a:gd name="connsiteY25" fmla="*/ 87366 h 865646"/>
              <a:gd name="connsiteX26" fmla="*/ 576663 w 585985"/>
              <a:gd name="connsiteY26" fmla="*/ 93582 h 865646"/>
              <a:gd name="connsiteX27" fmla="*/ 579771 w 585985"/>
              <a:gd name="connsiteY27" fmla="*/ 99796 h 865646"/>
              <a:gd name="connsiteX28" fmla="*/ 582877 w 585985"/>
              <a:gd name="connsiteY28" fmla="*/ 109178 h 865646"/>
              <a:gd name="connsiteX29" fmla="*/ 582877 w 585985"/>
              <a:gd name="connsiteY29" fmla="*/ 115393 h 865646"/>
              <a:gd name="connsiteX30" fmla="*/ 585985 w 585985"/>
              <a:gd name="connsiteY30" fmla="*/ 121667 h 865646"/>
              <a:gd name="connsiteX31" fmla="*/ 585985 w 585985"/>
              <a:gd name="connsiteY31" fmla="*/ 127882 h 865646"/>
              <a:gd name="connsiteX32" fmla="*/ 585985 w 585985"/>
              <a:gd name="connsiteY32" fmla="*/ 137264 h 865646"/>
              <a:gd name="connsiteX33" fmla="*/ 585985 w 585985"/>
              <a:gd name="connsiteY33" fmla="*/ 143479 h 865646"/>
              <a:gd name="connsiteX34" fmla="*/ 585985 w 585985"/>
              <a:gd name="connsiteY34" fmla="*/ 865646 h 865646"/>
              <a:gd name="connsiteX35" fmla="*/ 4170 w 585985"/>
              <a:gd name="connsiteY35" fmla="*/ 865646 h 8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5646">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5646"/>
                </a:lnTo>
                <a:lnTo>
                  <a:pt x="4170" y="865646"/>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0" name="Freihandform: Form 29">
            <a:extLst>
              <a:ext uri="{FF2B5EF4-FFF2-40B4-BE49-F238E27FC236}">
                <a16:creationId xmlns:a16="http://schemas.microsoft.com/office/drawing/2014/main" id="{3F3B0CB9-366D-15F1-A039-9A896F3DEB44}"/>
              </a:ext>
            </a:extLst>
          </p:cNvPr>
          <p:cNvSpPr/>
          <p:nvPr/>
        </p:nvSpPr>
        <p:spPr>
          <a:xfrm>
            <a:off x="5478283" y="5994990"/>
            <a:ext cx="654782" cy="865646"/>
          </a:xfrm>
          <a:custGeom>
            <a:avLst/>
            <a:gdLst>
              <a:gd name="connsiteX0" fmla="*/ 134156 w 654782"/>
              <a:gd name="connsiteY0" fmla="*/ 0 h 865646"/>
              <a:gd name="connsiteX1" fmla="*/ 140431 w 654782"/>
              <a:gd name="connsiteY1" fmla="*/ 0 h 865646"/>
              <a:gd name="connsiteX2" fmla="*/ 149753 w 654782"/>
              <a:gd name="connsiteY2" fmla="*/ 0 h 865646"/>
              <a:gd name="connsiteX3" fmla="*/ 156029 w 654782"/>
              <a:gd name="connsiteY3" fmla="*/ 0 h 865646"/>
              <a:gd name="connsiteX4" fmla="*/ 649449 w 654782"/>
              <a:gd name="connsiteY4" fmla="*/ 0 h 865646"/>
              <a:gd name="connsiteX5" fmla="*/ 654782 w 654782"/>
              <a:gd name="connsiteY5" fmla="*/ 865646 h 865646"/>
              <a:gd name="connsiteX6" fmla="*/ 0 w 654782"/>
              <a:gd name="connsiteY6" fmla="*/ 865646 h 865646"/>
              <a:gd name="connsiteX7" fmla="*/ 0 w 654782"/>
              <a:gd name="connsiteY7" fmla="*/ 143479 h 865646"/>
              <a:gd name="connsiteX8" fmla="*/ 0 w 654782"/>
              <a:gd name="connsiteY8" fmla="*/ 137264 h 865646"/>
              <a:gd name="connsiteX9" fmla="*/ 0 w 654782"/>
              <a:gd name="connsiteY9" fmla="*/ 127882 h 865646"/>
              <a:gd name="connsiteX10" fmla="*/ 0 w 654782"/>
              <a:gd name="connsiteY10" fmla="*/ 121667 h 865646"/>
              <a:gd name="connsiteX11" fmla="*/ 3168 w 654782"/>
              <a:gd name="connsiteY11" fmla="*/ 115393 h 865646"/>
              <a:gd name="connsiteX12" fmla="*/ 3168 w 654782"/>
              <a:gd name="connsiteY12" fmla="*/ 109178 h 865646"/>
              <a:gd name="connsiteX13" fmla="*/ 6275 w 654782"/>
              <a:gd name="connsiteY13" fmla="*/ 99796 h 865646"/>
              <a:gd name="connsiteX14" fmla="*/ 9382 w 654782"/>
              <a:gd name="connsiteY14" fmla="*/ 93582 h 865646"/>
              <a:gd name="connsiteX15" fmla="*/ 12489 w 654782"/>
              <a:gd name="connsiteY15" fmla="*/ 87366 h 865646"/>
              <a:gd name="connsiteX16" fmla="*/ 15597 w 654782"/>
              <a:gd name="connsiteY16" fmla="*/ 81092 h 865646"/>
              <a:gd name="connsiteX17" fmla="*/ 18765 w 654782"/>
              <a:gd name="connsiteY17" fmla="*/ 74877 h 865646"/>
              <a:gd name="connsiteX18" fmla="*/ 21871 w 654782"/>
              <a:gd name="connsiteY18" fmla="*/ 68662 h 865646"/>
              <a:gd name="connsiteX19" fmla="*/ 28086 w 654782"/>
              <a:gd name="connsiteY19" fmla="*/ 62387 h 865646"/>
              <a:gd name="connsiteX20" fmla="*/ 31194 w 654782"/>
              <a:gd name="connsiteY20" fmla="*/ 56173 h 865646"/>
              <a:gd name="connsiteX21" fmla="*/ 34361 w 654782"/>
              <a:gd name="connsiteY21" fmla="*/ 53065 h 865646"/>
              <a:gd name="connsiteX22" fmla="*/ 40576 w 654782"/>
              <a:gd name="connsiteY22" fmla="*/ 46790 h 865646"/>
              <a:gd name="connsiteX23" fmla="*/ 46790 w 654782"/>
              <a:gd name="connsiteY23" fmla="*/ 40576 h 865646"/>
              <a:gd name="connsiteX24" fmla="*/ 49958 w 654782"/>
              <a:gd name="connsiteY24" fmla="*/ 37468 h 865646"/>
              <a:gd name="connsiteX25" fmla="*/ 56173 w 654782"/>
              <a:gd name="connsiteY25" fmla="*/ 31194 h 865646"/>
              <a:gd name="connsiteX26" fmla="*/ 62387 w 654782"/>
              <a:gd name="connsiteY26" fmla="*/ 28087 h 865646"/>
              <a:gd name="connsiteX27" fmla="*/ 68662 w 654782"/>
              <a:gd name="connsiteY27" fmla="*/ 24979 h 865646"/>
              <a:gd name="connsiteX28" fmla="*/ 74877 w 654782"/>
              <a:gd name="connsiteY28" fmla="*/ 21871 h 865646"/>
              <a:gd name="connsiteX29" fmla="*/ 81152 w 654782"/>
              <a:gd name="connsiteY29" fmla="*/ 15597 h 865646"/>
              <a:gd name="connsiteX30" fmla="*/ 90474 w 654782"/>
              <a:gd name="connsiteY30" fmla="*/ 12490 h 865646"/>
              <a:gd name="connsiteX31" fmla="*/ 96748 w 654782"/>
              <a:gd name="connsiteY31" fmla="*/ 9382 h 865646"/>
              <a:gd name="connsiteX32" fmla="*/ 102963 w 654782"/>
              <a:gd name="connsiteY32" fmla="*/ 9382 h 865646"/>
              <a:gd name="connsiteX33" fmla="*/ 109237 w 654782"/>
              <a:gd name="connsiteY33" fmla="*/ 6275 h 865646"/>
              <a:gd name="connsiteX34" fmla="*/ 118560 w 654782"/>
              <a:gd name="connsiteY34" fmla="*/ 3168 h 865646"/>
              <a:gd name="connsiteX35" fmla="*/ 124834 w 654782"/>
              <a:gd name="connsiteY35" fmla="*/ 3168 h 8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82" h="865646">
                <a:moveTo>
                  <a:pt x="134156" y="0"/>
                </a:moveTo>
                <a:lnTo>
                  <a:pt x="140431" y="0"/>
                </a:lnTo>
                <a:lnTo>
                  <a:pt x="149753" y="0"/>
                </a:lnTo>
                <a:lnTo>
                  <a:pt x="156029" y="0"/>
                </a:lnTo>
                <a:lnTo>
                  <a:pt x="649449" y="0"/>
                </a:lnTo>
                <a:lnTo>
                  <a:pt x="654782" y="865646"/>
                </a:lnTo>
                <a:lnTo>
                  <a:pt x="0" y="865646"/>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12" name="Freihandform: Form 11">
            <a:extLst>
              <a:ext uri="{FF2B5EF4-FFF2-40B4-BE49-F238E27FC236}">
                <a16:creationId xmlns:a16="http://schemas.microsoft.com/office/drawing/2014/main" id="{A09A5179-CF02-9998-AA15-8CEB43C85D2F}"/>
              </a:ext>
            </a:extLst>
          </p:cNvPr>
          <p:cNvSpPr/>
          <p:nvPr/>
        </p:nvSpPr>
        <p:spPr>
          <a:xfrm>
            <a:off x="5352170" y="6644668"/>
            <a:ext cx="1510204" cy="215969"/>
          </a:xfrm>
          <a:custGeom>
            <a:avLst/>
            <a:gdLst>
              <a:gd name="connsiteX0" fmla="*/ 1374006 w 1510204"/>
              <a:gd name="connsiteY0" fmla="*/ 1026 h 215969"/>
              <a:gd name="connsiteX1" fmla="*/ 1507445 w 1510204"/>
              <a:gd name="connsiteY1" fmla="*/ 100165 h 215969"/>
              <a:gd name="connsiteX2" fmla="*/ 1509297 w 1510204"/>
              <a:gd name="connsiteY2" fmla="*/ 114446 h 215969"/>
              <a:gd name="connsiteX3" fmla="*/ 1484856 w 1510204"/>
              <a:gd name="connsiteY3" fmla="*/ 199751 h 215969"/>
              <a:gd name="connsiteX4" fmla="*/ 1465726 w 1510204"/>
              <a:gd name="connsiteY4" fmla="*/ 215969 h 215969"/>
              <a:gd name="connsiteX5" fmla="*/ 0 w 1510204"/>
              <a:gd name="connsiteY5" fmla="*/ 215969 h 215969"/>
              <a:gd name="connsiteX6" fmla="*/ 2743 w 1510204"/>
              <a:gd name="connsiteY6" fmla="*/ 210746 h 215969"/>
              <a:gd name="connsiteX7" fmla="*/ 82399 w 1510204"/>
              <a:gd name="connsiteY7" fmla="*/ 166496 h 2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0204" h="215969">
                <a:moveTo>
                  <a:pt x="1374006" y="1026"/>
                </a:moveTo>
                <a:cubicBezTo>
                  <a:pt x="1439620" y="-7400"/>
                  <a:pt x="1499317" y="37001"/>
                  <a:pt x="1507445" y="100165"/>
                </a:cubicBezTo>
                <a:lnTo>
                  <a:pt x="1509297" y="114446"/>
                </a:lnTo>
                <a:cubicBezTo>
                  <a:pt x="1513331" y="146029"/>
                  <a:pt x="1503695" y="176311"/>
                  <a:pt x="1484856" y="199751"/>
                </a:cubicBezTo>
                <a:lnTo>
                  <a:pt x="1465726" y="215969"/>
                </a:lnTo>
                <a:lnTo>
                  <a:pt x="0" y="215969"/>
                </a:lnTo>
                <a:lnTo>
                  <a:pt x="2743" y="210746"/>
                </a:lnTo>
                <a:cubicBezTo>
                  <a:pt x="21581" y="187306"/>
                  <a:pt x="49623" y="170709"/>
                  <a:pt x="82399"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37" name="Foliennummernplatzhalter 5">
            <a:extLst>
              <a:ext uri="{FF2B5EF4-FFF2-40B4-BE49-F238E27FC236}">
                <a16:creationId xmlns:a16="http://schemas.microsoft.com/office/drawing/2014/main" id="{CC58D9C0-FACB-44E4-61C7-B64760D06D4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1"/>
              </a:buClr>
              <a:defRPr sz="2000">
                <a:solidFill>
                  <a:schemeClr val="tx1">
                    <a:lumMod val="75000"/>
                    <a:lumOff val="25000"/>
                  </a:schemeClr>
                </a:solidFill>
              </a:defRPr>
            </a:lvl1pPr>
            <a:lvl2pPr marL="540000" indent="-270000">
              <a:lnSpc>
                <a:spcPct val="110000"/>
              </a:lnSpc>
              <a:spcBef>
                <a:spcPts val="1000"/>
              </a:spcBef>
              <a:buClr>
                <a:schemeClr val="accent1"/>
              </a:buClr>
              <a:defRPr sz="2000">
                <a:solidFill>
                  <a:schemeClr val="tx1">
                    <a:lumMod val="75000"/>
                    <a:lumOff val="25000"/>
                  </a:schemeClr>
                </a:solidFill>
              </a:defRPr>
            </a:lvl2pPr>
            <a:lvl3pPr marL="810000" indent="-270000">
              <a:lnSpc>
                <a:spcPct val="110000"/>
              </a:lnSpc>
              <a:spcBef>
                <a:spcPts val="10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FDB12ED9-64A6-FF1E-1438-C0A5D8B6C95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1"/>
              </a:buClr>
              <a:defRPr sz="2000">
                <a:solidFill>
                  <a:schemeClr val="tx1">
                    <a:lumMod val="75000"/>
                    <a:lumOff val="25000"/>
                  </a:schemeClr>
                </a:solidFill>
              </a:defRPr>
            </a:lvl1pPr>
            <a:lvl2pPr marL="540000" indent="-270000">
              <a:lnSpc>
                <a:spcPct val="110000"/>
              </a:lnSpc>
              <a:spcBef>
                <a:spcPts val="1000"/>
              </a:spcBef>
              <a:buClr>
                <a:schemeClr val="accent1"/>
              </a:buClr>
              <a:defRPr sz="2000">
                <a:solidFill>
                  <a:schemeClr val="tx1">
                    <a:lumMod val="75000"/>
                    <a:lumOff val="25000"/>
                  </a:schemeClr>
                </a:solidFill>
              </a:defRPr>
            </a:lvl2pPr>
            <a:lvl3pPr marL="810000" indent="-270000">
              <a:lnSpc>
                <a:spcPct val="110000"/>
              </a:lnSpc>
              <a:spcBef>
                <a:spcPts val="10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1"/>
              </a:buClr>
              <a:defRPr sz="2000">
                <a:solidFill>
                  <a:schemeClr val="tx1">
                    <a:lumMod val="75000"/>
                    <a:lumOff val="25000"/>
                  </a:schemeClr>
                </a:solidFill>
              </a:defRPr>
            </a:lvl1pPr>
            <a:lvl2pPr marL="540000" indent="-270000">
              <a:lnSpc>
                <a:spcPct val="110000"/>
              </a:lnSpc>
              <a:spcBef>
                <a:spcPts val="1000"/>
              </a:spcBef>
              <a:buClr>
                <a:schemeClr val="accent1"/>
              </a:buClr>
              <a:defRPr sz="2000">
                <a:solidFill>
                  <a:schemeClr val="tx1">
                    <a:lumMod val="75000"/>
                    <a:lumOff val="25000"/>
                  </a:schemeClr>
                </a:solidFill>
              </a:defRPr>
            </a:lvl2pPr>
            <a:lvl3pPr marL="810000" indent="-270000">
              <a:lnSpc>
                <a:spcPct val="110000"/>
              </a:lnSpc>
              <a:spcBef>
                <a:spcPts val="10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91951B52-9DDE-7762-A6CD-2E26F8526F98}"/>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1"/>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1"/>
              </a:buClr>
              <a:defRPr sz="1400">
                <a:solidFill>
                  <a:schemeClr val="tx1">
                    <a:lumMod val="75000"/>
                    <a:lumOff val="25000"/>
                  </a:schemeClr>
                </a:solidFill>
              </a:defRPr>
            </a:lvl1pPr>
            <a:lvl2pPr marL="540000" indent="-270000">
              <a:lnSpc>
                <a:spcPct val="110000"/>
              </a:lnSpc>
              <a:spcBef>
                <a:spcPts val="1500"/>
              </a:spcBef>
              <a:buClr>
                <a:schemeClr val="accent1"/>
              </a:buClr>
              <a:defRPr sz="1400">
                <a:solidFill>
                  <a:schemeClr val="tx1">
                    <a:lumMod val="75000"/>
                    <a:lumOff val="25000"/>
                  </a:schemeClr>
                </a:solidFill>
              </a:defRPr>
            </a:lvl2pPr>
            <a:lvl3pPr marL="810000" indent="-270000">
              <a:lnSpc>
                <a:spcPct val="110000"/>
              </a:lnSpc>
              <a:spcBef>
                <a:spcPts val="1500"/>
              </a:spcBef>
              <a:buClr>
                <a:schemeClr val="accent1"/>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1CCCD97B-5F2C-13CB-C64F-EA9BC0E7E23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1"/>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F3850567-9162-8227-2FF3-0E55D54AA56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1731708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1"/>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F3850567-9162-8227-2FF3-0E55D54AA56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1"/>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F3850567-9162-8227-2FF3-0E55D54AA56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3219490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28459B3F-7EC0-F44F-E26F-B124290A9AC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CC96B850-2028-E529-DDBB-CF06B6A5E47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1"/>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1"/>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7532EA8B-340C-4296-6C6F-F84CF73580B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1"/>
              </a:buClr>
              <a:defRPr sz="2000">
                <a:solidFill>
                  <a:schemeClr val="tx1">
                    <a:lumMod val="75000"/>
                    <a:lumOff val="25000"/>
                  </a:schemeClr>
                </a:solidFill>
              </a:defRPr>
            </a:lvl1pPr>
            <a:lvl2pPr marL="540000" indent="-270000">
              <a:lnSpc>
                <a:spcPct val="110000"/>
              </a:lnSpc>
              <a:spcBef>
                <a:spcPts val="1500"/>
              </a:spcBef>
              <a:buClr>
                <a:schemeClr val="accent1"/>
              </a:buClr>
              <a:defRPr sz="2000">
                <a:solidFill>
                  <a:schemeClr val="tx1">
                    <a:lumMod val="75000"/>
                    <a:lumOff val="25000"/>
                  </a:schemeClr>
                </a:solidFill>
              </a:defRPr>
            </a:lvl2pPr>
            <a:lvl3pPr marL="810000" indent="-270000">
              <a:lnSpc>
                <a:spcPct val="110000"/>
              </a:lnSpc>
              <a:spcBef>
                <a:spcPts val="15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61965D-6857-D3C8-CDBE-19FD6C8019E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E72929DC-1F47-AB0E-EBDC-9A3EAB3120D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1"/>
              </a:buClr>
              <a:defRPr sz="2000">
                <a:solidFill>
                  <a:schemeClr val="tx1">
                    <a:lumMod val="75000"/>
                    <a:lumOff val="25000"/>
                  </a:schemeClr>
                </a:solidFill>
              </a:defRPr>
            </a:lvl1pPr>
            <a:lvl2pPr marL="540000" indent="-270000">
              <a:lnSpc>
                <a:spcPct val="110000"/>
              </a:lnSpc>
              <a:spcBef>
                <a:spcPts val="1500"/>
              </a:spcBef>
              <a:buClr>
                <a:schemeClr val="accent1"/>
              </a:buClr>
              <a:defRPr sz="2000">
                <a:solidFill>
                  <a:schemeClr val="tx1">
                    <a:lumMod val="75000"/>
                    <a:lumOff val="25000"/>
                  </a:schemeClr>
                </a:solidFill>
              </a:defRPr>
            </a:lvl2pPr>
            <a:lvl3pPr marL="810000" indent="-270000">
              <a:lnSpc>
                <a:spcPct val="110000"/>
              </a:lnSpc>
              <a:spcBef>
                <a:spcPts val="15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BE750607-002D-2B86-FF73-5271DABB4B7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vmlDrawing" Target="../drawings/vmlDrawing3.vml"/><Relationship Id="rId18" Type="http://schemas.openxmlformats.org/officeDocument/2006/relationships/image" Target="../media/image9.svg"/><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3.xml"/><Relationship Id="rId17" Type="http://schemas.openxmlformats.org/officeDocument/2006/relationships/image" Target="../media/image5.png"/><Relationship Id="rId2" Type="http://schemas.openxmlformats.org/officeDocument/2006/relationships/slideLayout" Target="../slideLayouts/slideLayout5.xml"/><Relationship Id="rId16" Type="http://schemas.openxmlformats.org/officeDocument/2006/relationships/image" Target="../media/image1.emf"/><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oleObject" Target="../embeddings/oleObject3.bin"/><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36" name="think-cell Folie" r:id="rId5" imgW="7772400" imgH="10058400" progId="TCLayout.ActiveDocument.1">
                  <p:embed/>
                </p:oleObj>
              </mc:Choice>
              <mc:Fallback>
                <p:oleObj name="think-cell Folie" r:id="rId5"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FAE3C709-848D-1C46-5619-3FF62B883936}"/>
              </a:ext>
            </a:extLst>
          </p:cNvPr>
          <p:cNvSpPr/>
          <p:nvPr/>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1" name="Freihandform: Form 20">
            <a:extLst>
              <a:ext uri="{FF2B5EF4-FFF2-40B4-BE49-F238E27FC236}">
                <a16:creationId xmlns:a16="http://schemas.microsoft.com/office/drawing/2014/main" id="{AF31CF7D-D27E-14D4-AB65-00524BF11738}"/>
              </a:ext>
            </a:extLst>
          </p:cNvPr>
          <p:cNvSpPr/>
          <p:nvPr/>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4" name="Freihandform: Form 23">
            <a:extLst>
              <a:ext uri="{FF2B5EF4-FFF2-40B4-BE49-F238E27FC236}">
                <a16:creationId xmlns:a16="http://schemas.microsoft.com/office/drawing/2014/main" id="{50D54543-ABC6-DC31-DAFE-F587EAB77C1B}"/>
              </a:ext>
            </a:extLst>
          </p:cNvPr>
          <p:cNvSpPr/>
          <p:nvPr/>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6" name="Freihandform: Form 25">
            <a:extLst>
              <a:ext uri="{FF2B5EF4-FFF2-40B4-BE49-F238E27FC236}">
                <a16:creationId xmlns:a16="http://schemas.microsoft.com/office/drawing/2014/main" id="{E9A13F45-C121-F064-E644-7BEE021F0FDE}"/>
              </a:ext>
            </a:extLst>
          </p:cNvPr>
          <p:cNvSpPr/>
          <p:nvPr/>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8" name="Freihandform: Form 27">
            <a:extLst>
              <a:ext uri="{FF2B5EF4-FFF2-40B4-BE49-F238E27FC236}">
                <a16:creationId xmlns:a16="http://schemas.microsoft.com/office/drawing/2014/main" id="{46EAF3E5-BA05-64E6-B318-0B9A69D781A3}"/>
              </a:ext>
            </a:extLst>
          </p:cNvPr>
          <p:cNvSpPr/>
          <p:nvPr/>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0" name="Freihandform: Form 29">
            <a:extLst>
              <a:ext uri="{FF2B5EF4-FFF2-40B4-BE49-F238E27FC236}">
                <a16:creationId xmlns:a16="http://schemas.microsoft.com/office/drawing/2014/main" id="{193707AC-C4F7-EA39-8882-2470B776986A}"/>
              </a:ext>
            </a:extLst>
          </p:cNvPr>
          <p:cNvSpPr/>
          <p:nvPr/>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60"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Freihandform: Form 2">
            <a:extLst>
              <a:ext uri="{FF2B5EF4-FFF2-40B4-BE49-F238E27FC236}">
                <a16:creationId xmlns:a16="http://schemas.microsoft.com/office/drawing/2014/main" id="{3A6A9BCE-07AA-1DAD-D30B-F440728632FF}"/>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Freihandform: Form 3">
            <a:extLst>
              <a:ext uri="{FF2B5EF4-FFF2-40B4-BE49-F238E27FC236}">
                <a16:creationId xmlns:a16="http://schemas.microsoft.com/office/drawing/2014/main" id="{561D8C8A-23D9-B8A6-82FD-962518A45DF1}"/>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5ED6F6A8-45EC-BD8B-2E18-5666B1C81882}"/>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64DCC3CE-36F8-B46F-CBEA-0F80F7CE9161}"/>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34CE6CEE-4E14-EAAD-5FE5-D4E4198F22F8}"/>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DCE5E543-8863-0174-6ED7-8B50983C4BC5}"/>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83" name="think-cell Folie" r:id="rId15" imgW="7772400" imgH="10058400" progId="TCLayout.ActiveDocument.1">
                  <p:embed/>
                </p:oleObj>
              </mc:Choice>
              <mc:Fallback>
                <p:oleObj name="think-cell Folie" r:id="rId15" imgW="7772400" imgH="10058400" progId="TCLayout.ActiveDocument.1">
                  <p:embed/>
                  <p:pic>
                    <p:nvPicPr>
                      <p:cNvPr id="0" name=""/>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3" name="Freihandform: Form 2">
            <a:extLst>
              <a:ext uri="{FF2B5EF4-FFF2-40B4-BE49-F238E27FC236}">
                <a16:creationId xmlns:a16="http://schemas.microsoft.com/office/drawing/2014/main" id="{74DF807F-A2FA-D06E-70D9-0EF540101DC3}"/>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8BBCBD69-97D0-69B3-636E-239D991B020B}"/>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7800B486-CA31-3A95-FB16-A4FE8EB55FC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D1CA3ECC-3F8E-3A75-3CF2-2C625501B5EB}"/>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3283DF9C-C086-A713-102A-FF490C3CF108}"/>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5B989F69-B55A-A025-5800-2CD69D584BEF}"/>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 xmlns:asvg="http://schemas.microsoft.com/office/drawing/2016/SVG/main" r:embed="rId18"/>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62" r:id="rId4"/>
    <p:sldLayoutId id="2147483651" r:id="rId5"/>
    <p:sldLayoutId id="2147483663" r:id="rId6"/>
    <p:sldLayoutId id="2147483664" r:id="rId7"/>
    <p:sldLayoutId id="2147483665" r:id="rId8"/>
    <p:sldLayoutId id="2147483666" r:id="rId9"/>
    <p:sldLayoutId id="2147483667"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4.sv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24.sv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24.sv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20.png"/><Relationship Id="rId5" Type="http://schemas.openxmlformats.org/officeDocument/2006/relationships/hyperlink" Target="https://mebis.bycs.de/assets/uploads/posts/0/8/4/8/c/075ec5fd-8801-46d8-896d-c4c72da904fa/handlungstipps-zur-informationssuche.pdf" TargetMode="External"/><Relationship Id="rId4" Type="http://schemas.openxmlformats.org/officeDocument/2006/relationships/image" Target="../media/image30.svg"/></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4.svg"/></Relationships>
</file>

<file path=ppt/slides/_rels/slide15.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image" Target="../media/image19.sv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9.sv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19.svg"/></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15.sv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28.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30.svg"/></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1.xml"/><Relationship Id="rId1" Type="http://schemas.openxmlformats.org/officeDocument/2006/relationships/slideLayout" Target="../slideLayouts/slideLayout11.xml"/><Relationship Id="rId4" Type="http://schemas.openxmlformats.org/officeDocument/2006/relationships/image" Target="../media/image19.svg"/></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19.svg"/></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19.svg"/></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13.xml"/><Relationship Id="rId5" Type="http://schemas.openxmlformats.org/officeDocument/2006/relationships/image" Target="../media/image19.sv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svg"/><Relationship Id="rId5" Type="http://schemas.openxmlformats.org/officeDocument/2006/relationships/image" Target="../media/image11.png"/><Relationship Id="rId4" Type="http://schemas.openxmlformats.org/officeDocument/2006/relationships/image" Target="../media/image17.sv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hyperlink" Target="https://www.stiftung-medienpaedagogik-bayern.de/externalContent/schaubilder-elternarbeit/Online/index.html#/5-prinzipien-der-medienerziehung" TargetMode="External"/><Relationship Id="rId7" Type="http://schemas.openxmlformats.org/officeDocument/2006/relationships/image" Target="../media/image24.sv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5.png"/><Relationship Id="rId7" Type="http://schemas.openxmlformats.org/officeDocument/2006/relationships/hyperlink" Target="https://mebis.bycs.de/assets/uploads/posts/0/8/4/8/c/075ec5fd-8801-46d8-896d-c4c72da904fa/handlungstipps-zur-medienerziehung.pdf"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6.png"/><Relationship Id="rId5" Type="http://schemas.openxmlformats.org/officeDocument/2006/relationships/hyperlink" Target="http://www.mediennutzungsvertrag.de/" TargetMode="External"/><Relationship Id="rId4" Type="http://schemas.openxmlformats.org/officeDocument/2006/relationships/image" Target="../media/image30.sv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24.sv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4.sv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24.sv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a:xfrm>
            <a:off x="550864" y="4013626"/>
            <a:ext cx="5545136" cy="585481"/>
          </a:xfrm>
        </p:spPr>
        <p:txBody>
          <a:bodyPr/>
          <a:lstStyle/>
          <a:p>
            <a:pPr>
              <a:lnSpc>
                <a:spcPct val="110000"/>
              </a:lnSpc>
            </a:pPr>
            <a:r>
              <a:rPr lang="de-DE" sz="1800" spc="100" dirty="0">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effectLst/>
                <a:latin typeface="Segoe UI" panose="020B0502040204020203" pitchFamily="34" charset="0"/>
                <a:ea typeface="Calibri" panose="020F0502020204030204" pitchFamily="34" charset="0"/>
                <a:cs typeface="Segoe UI" panose="020B0502040204020203" pitchFamily="34" charset="0"/>
              </a:rPr>
            </a:br>
            <a:r>
              <a:rPr lang="de-DE" sz="1800" spc="100" dirty="0">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a:xfrm>
            <a:off x="555421" y="1498497"/>
            <a:ext cx="5540579" cy="1538883"/>
          </a:xfrm>
        </p:spPr>
        <p:txBody>
          <a:bodyPr/>
          <a:lstStyle/>
          <a:p>
            <a:pPr algn="l"/>
            <a:r>
              <a:rPr lang="de-DE" dirty="0">
                <a:latin typeface="Segoe UI" panose="020B0502040204020203" pitchFamily="34" charset="0"/>
                <a:cs typeface="Segoe UI" panose="020B0502040204020203" pitchFamily="34" charset="0"/>
              </a:rPr>
              <a:t>Medien in </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der Familie</a:t>
            </a:r>
          </a:p>
        </p:txBody>
      </p:sp>
      <p:sp>
        <p:nvSpPr>
          <p:cNvPr id="2" name="Textfeld 1"/>
          <p:cNvSpPr txBox="1"/>
          <p:nvPr/>
        </p:nvSpPr>
        <p:spPr>
          <a:xfrm>
            <a:off x="550863" y="5059680"/>
            <a:ext cx="4813617" cy="830997"/>
          </a:xfrm>
          <a:prstGeom prst="rect">
            <a:avLst/>
          </a:prstGeom>
          <a:noFill/>
        </p:spPr>
        <p:txBody>
          <a:bodyPr wrap="square" lIns="0" rIns="0" rtlCol="0">
            <a:spAutoFit/>
          </a:bodyPr>
          <a:lstStyle/>
          <a:p>
            <a:r>
              <a:rPr lang="de-DE" sz="2400" b="1" dirty="0" smtClean="0">
                <a:solidFill>
                  <a:srgbClr val="F39324"/>
                </a:solidFill>
              </a:rPr>
              <a:t>Thema:</a:t>
            </a:r>
            <a:br>
              <a:rPr lang="de-DE" sz="2400" b="1" dirty="0" smtClean="0">
                <a:solidFill>
                  <a:srgbClr val="F39324"/>
                </a:solidFill>
              </a:rPr>
            </a:br>
            <a:r>
              <a:rPr lang="de-DE" sz="2400" b="1" dirty="0" smtClean="0">
                <a:solidFill>
                  <a:srgbClr val="F39324"/>
                </a:solidFill>
              </a:rPr>
              <a:t>Medienerziehung im Alltag</a:t>
            </a:r>
            <a:endParaRPr lang="de-DE" sz="2400" b="1" dirty="0">
              <a:solidFill>
                <a:srgbClr val="F39324"/>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46A52A9-1F07-5C34-946B-FD3E622467FC}"/>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3" name="Textplatzhalter 2">
            <a:extLst>
              <a:ext uri="{FF2B5EF4-FFF2-40B4-BE49-F238E27FC236}">
                <a16:creationId xmlns:a16="http://schemas.microsoft.com/office/drawing/2014/main" id="{45C21790-27A2-56C2-0171-58BB427304C9}"/>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4" name="Inhaltsplatzhalter 4">
            <a:extLst>
              <a:ext uri="{FF2B5EF4-FFF2-40B4-BE49-F238E27FC236}">
                <a16:creationId xmlns:a16="http://schemas.microsoft.com/office/drawing/2014/main" id="{35BDD009-4541-DCB7-9DC2-840444837C08}"/>
              </a:ext>
            </a:extLst>
          </p:cNvPr>
          <p:cNvPicPr>
            <a:picLocks noChangeAspect="1"/>
          </p:cNvPicPr>
          <p:nvPr/>
        </p:nvPicPr>
        <p:blipFill rotWithShape="1">
          <a:blip r:embed="rId3">
            <a:extLst>
              <a:ext uri="{28A0092B-C50C-407E-A947-70E740481C1C}">
                <a14:useLocalDpi xmlns:a14="http://schemas.microsoft.com/office/drawing/2010/main" val="0"/>
              </a:ext>
            </a:extLst>
          </a:blip>
          <a:srcRect l="2100" t="1476" r="1971" b="71036"/>
          <a:stretch/>
        </p:blipFill>
        <p:spPr>
          <a:xfrm>
            <a:off x="558482" y="1665287"/>
            <a:ext cx="11082655" cy="4478105"/>
          </a:xfrm>
          <a:prstGeom prst="rect">
            <a:avLst/>
          </a:prstGeom>
        </p:spPr>
      </p:pic>
      <p:pic>
        <p:nvPicPr>
          <p:cNvPr id="5" name="Grafik 4">
            <a:extLst>
              <a:ext uri="{FF2B5EF4-FFF2-40B4-BE49-F238E27FC236}">
                <a16:creationId xmlns:a16="http://schemas.microsoft.com/office/drawing/2014/main" id="{DA537BCD-FCEC-2E3D-4ECA-1FCDBD5CA1B9}"/>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29388" y="413431"/>
            <a:ext cx="540000" cy="540000"/>
          </a:xfrm>
          <a:prstGeom prst="rect">
            <a:avLst/>
          </a:prstGeom>
        </p:spPr>
      </p:pic>
      <p:sp>
        <p:nvSpPr>
          <p:cNvPr id="6" name="Foliennummernplatzhalter 5">
            <a:extLst>
              <a:ext uri="{FF2B5EF4-FFF2-40B4-BE49-F238E27FC236}">
                <a16:creationId xmlns:a16="http://schemas.microsoft.com/office/drawing/2014/main" id="{1DFC2E28-455E-5112-C4E9-DCE8548053D5}"/>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0</a:t>
            </a:fld>
            <a:endParaRPr lang="de-DE" dirty="0"/>
          </a:p>
        </p:txBody>
      </p:sp>
    </p:spTree>
    <p:extLst>
      <p:ext uri="{BB962C8B-B14F-4D97-AF65-F5344CB8AC3E}">
        <p14:creationId xmlns:p14="http://schemas.microsoft.com/office/powerpoint/2010/main" val="3450063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097A510-4442-EA01-58A0-603B31D58F5A}"/>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3" name="Textplatzhalter 2">
            <a:extLst>
              <a:ext uri="{FF2B5EF4-FFF2-40B4-BE49-F238E27FC236}">
                <a16:creationId xmlns:a16="http://schemas.microsoft.com/office/drawing/2014/main" id="{769FF619-DD8B-50F9-E0DA-37ABA42C1917}"/>
              </a:ext>
            </a:extLst>
          </p:cNvPr>
          <p:cNvSpPr>
            <a:spLocks noGrp="1"/>
          </p:cNvSpPr>
          <p:nvPr>
            <p:ph type="body" sz="quarter" idx="11"/>
          </p:nvPr>
        </p:nvSpPr>
        <p:spPr>
          <a:xfrm>
            <a:off x="556650" y="778589"/>
            <a:ext cx="9209813" cy="990015"/>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a:p>
            <a:endParaRPr lang="de-DE" dirty="0"/>
          </a:p>
        </p:txBody>
      </p:sp>
      <p:pic>
        <p:nvPicPr>
          <p:cNvPr id="4" name="Inhaltsplatzhalter 4">
            <a:extLst>
              <a:ext uri="{FF2B5EF4-FFF2-40B4-BE49-F238E27FC236}">
                <a16:creationId xmlns:a16="http://schemas.microsoft.com/office/drawing/2014/main" id="{BF33C30F-5B95-495B-59AB-D4825F3D58D6}"/>
              </a:ext>
            </a:extLst>
          </p:cNvPr>
          <p:cNvPicPr>
            <a:picLocks noChangeAspect="1"/>
          </p:cNvPicPr>
          <p:nvPr/>
        </p:nvPicPr>
        <p:blipFill rotWithShape="1">
          <a:blip r:embed="rId3">
            <a:extLst>
              <a:ext uri="{28A0092B-C50C-407E-A947-70E740481C1C}">
                <a14:useLocalDpi xmlns:a14="http://schemas.microsoft.com/office/drawing/2010/main" val="0"/>
              </a:ext>
            </a:extLst>
          </a:blip>
          <a:srcRect l="2143" t="28909" r="2160" b="38789"/>
          <a:stretch/>
        </p:blipFill>
        <p:spPr>
          <a:xfrm>
            <a:off x="558483" y="1665289"/>
            <a:ext cx="9755527" cy="4643436"/>
          </a:xfrm>
          <a:prstGeom prst="rect">
            <a:avLst/>
          </a:prstGeom>
        </p:spPr>
      </p:pic>
      <p:pic>
        <p:nvPicPr>
          <p:cNvPr id="5" name="Grafik 4">
            <a:extLst>
              <a:ext uri="{FF2B5EF4-FFF2-40B4-BE49-F238E27FC236}">
                <a16:creationId xmlns:a16="http://schemas.microsoft.com/office/drawing/2014/main" id="{D0760360-0BD7-A6AE-E1D5-14F0AFE56EFA}"/>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29388" y="413431"/>
            <a:ext cx="540000" cy="540000"/>
          </a:xfrm>
          <a:prstGeom prst="rect">
            <a:avLst/>
          </a:prstGeom>
        </p:spPr>
      </p:pic>
      <p:sp>
        <p:nvSpPr>
          <p:cNvPr id="6" name="Foliennummernplatzhalter 5">
            <a:extLst>
              <a:ext uri="{FF2B5EF4-FFF2-40B4-BE49-F238E27FC236}">
                <a16:creationId xmlns:a16="http://schemas.microsoft.com/office/drawing/2014/main" id="{102254FB-C088-4E59-C090-26E05C5493E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1</a:t>
            </a:fld>
            <a:endParaRPr lang="de-DE" dirty="0"/>
          </a:p>
        </p:txBody>
      </p:sp>
    </p:spTree>
    <p:extLst>
      <p:ext uri="{BB962C8B-B14F-4D97-AF65-F5344CB8AC3E}">
        <p14:creationId xmlns:p14="http://schemas.microsoft.com/office/powerpoint/2010/main" val="671347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6AE13BC-064D-10D1-D687-922F874CD343}"/>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3" name="Textplatzhalter 2">
            <a:extLst>
              <a:ext uri="{FF2B5EF4-FFF2-40B4-BE49-F238E27FC236}">
                <a16:creationId xmlns:a16="http://schemas.microsoft.com/office/drawing/2014/main" id="{5C06DBF6-CF70-86AA-BCE6-E7AF955625F5}"/>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grpSp>
        <p:nvGrpSpPr>
          <p:cNvPr id="4" name="Gruppieren 3">
            <a:extLst>
              <a:ext uri="{FF2B5EF4-FFF2-40B4-BE49-F238E27FC236}">
                <a16:creationId xmlns:a16="http://schemas.microsoft.com/office/drawing/2014/main" id="{0401AA6E-A524-3A3C-895D-E70D1DC5DD21}"/>
              </a:ext>
            </a:extLst>
          </p:cNvPr>
          <p:cNvGrpSpPr/>
          <p:nvPr/>
        </p:nvGrpSpPr>
        <p:grpSpPr>
          <a:xfrm>
            <a:off x="550863" y="1665287"/>
            <a:ext cx="8394688" cy="4643438"/>
            <a:chOff x="550863" y="558337"/>
            <a:chExt cx="11096174" cy="6137738"/>
          </a:xfrm>
        </p:grpSpPr>
        <p:pic>
          <p:nvPicPr>
            <p:cNvPr id="5" name="Inhaltsplatzhalter 4">
              <a:extLst>
                <a:ext uri="{FF2B5EF4-FFF2-40B4-BE49-F238E27FC236}">
                  <a16:creationId xmlns:a16="http://schemas.microsoft.com/office/drawing/2014/main" id="{AE81FD3F-E6BC-4587-7E00-600E6A4B5181}"/>
                </a:ext>
              </a:extLst>
            </p:cNvPr>
            <p:cNvPicPr>
              <a:picLocks noChangeAspect="1"/>
            </p:cNvPicPr>
            <p:nvPr/>
          </p:nvPicPr>
          <p:blipFill rotWithShape="1">
            <a:blip r:embed="rId3">
              <a:extLst>
                <a:ext uri="{28A0092B-C50C-407E-A947-70E740481C1C}">
                  <a14:useLocalDpi xmlns:a14="http://schemas.microsoft.com/office/drawing/2010/main" val="0"/>
                </a:ext>
              </a:extLst>
            </a:blip>
            <a:srcRect l="1988" t="60937" r="2124" b="1450"/>
            <a:stretch/>
          </p:blipFill>
          <p:spPr>
            <a:xfrm>
              <a:off x="550863" y="558337"/>
              <a:ext cx="11096174" cy="6137738"/>
            </a:xfrm>
            <a:prstGeom prst="rect">
              <a:avLst/>
            </a:prstGeom>
          </p:spPr>
        </p:pic>
        <p:sp>
          <p:nvSpPr>
            <p:cNvPr id="6" name="Rechteck 5">
              <a:extLst>
                <a:ext uri="{FF2B5EF4-FFF2-40B4-BE49-F238E27FC236}">
                  <a16:creationId xmlns:a16="http://schemas.microsoft.com/office/drawing/2014/main" id="{AEF8FCEF-923A-6FBD-345E-A29FB130EC3F}"/>
                </a:ext>
              </a:extLst>
            </p:cNvPr>
            <p:cNvSpPr/>
            <p:nvPr/>
          </p:nvSpPr>
          <p:spPr>
            <a:xfrm>
              <a:off x="10340283" y="6160168"/>
              <a:ext cx="1230658" cy="4193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7" name="Grafik 13">
              <a:extLst>
                <a:ext uri="{FF2B5EF4-FFF2-40B4-BE49-F238E27FC236}">
                  <a16:creationId xmlns:a16="http://schemas.microsoft.com/office/drawing/2014/main" id="{91BEEB46-AC19-EE82-B42D-3FF356FBE56F}"/>
                </a:ext>
              </a:extLst>
            </p:cNvPr>
            <p:cNvGrpSpPr>
              <a:grpSpLocks noChangeAspect="1"/>
            </p:cNvGrpSpPr>
            <p:nvPr/>
          </p:nvGrpSpPr>
          <p:grpSpPr>
            <a:xfrm>
              <a:off x="10480045" y="6247065"/>
              <a:ext cx="951134" cy="288000"/>
              <a:chOff x="2839995" y="7847196"/>
              <a:chExt cx="6300787" cy="1907857"/>
            </a:xfrm>
          </p:grpSpPr>
          <p:grpSp>
            <p:nvGrpSpPr>
              <p:cNvPr id="8" name="Grafik 13">
                <a:extLst>
                  <a:ext uri="{FF2B5EF4-FFF2-40B4-BE49-F238E27FC236}">
                    <a16:creationId xmlns:a16="http://schemas.microsoft.com/office/drawing/2014/main" id="{49DFA4D6-B75E-2EA9-73FB-3D69F0D3A472}"/>
                  </a:ext>
                </a:extLst>
              </p:cNvPr>
              <p:cNvGrpSpPr/>
              <p:nvPr/>
            </p:nvGrpSpPr>
            <p:grpSpPr>
              <a:xfrm>
                <a:off x="2839995" y="7847196"/>
                <a:ext cx="6300787" cy="1907857"/>
                <a:chOff x="2839995" y="7847196"/>
                <a:chExt cx="6300787" cy="1907857"/>
              </a:xfrm>
            </p:grpSpPr>
            <p:sp>
              <p:nvSpPr>
                <p:cNvPr id="13" name="Freihandform: Form 12">
                  <a:extLst>
                    <a:ext uri="{FF2B5EF4-FFF2-40B4-BE49-F238E27FC236}">
                      <a16:creationId xmlns:a16="http://schemas.microsoft.com/office/drawing/2014/main" id="{A94B36AE-0A0C-79E6-8A6C-D4ADAEF382F9}"/>
                    </a:ext>
                  </a:extLst>
                </p:cNvPr>
                <p:cNvSpPr/>
                <p:nvPr/>
              </p:nvSpPr>
              <p:spPr>
                <a:xfrm>
                  <a:off x="2847615" y="8497753"/>
                  <a:ext cx="477202" cy="474345"/>
                </a:xfrm>
                <a:custGeom>
                  <a:avLst/>
                  <a:gdLst>
                    <a:gd name="connsiteX0" fmla="*/ 66675 w 477202"/>
                    <a:gd name="connsiteY0" fmla="*/ 474345 h 474345"/>
                    <a:gd name="connsiteX1" fmla="*/ 0 w 477202"/>
                    <a:gd name="connsiteY1" fmla="*/ 474345 h 474345"/>
                    <a:gd name="connsiteX2" fmla="*/ 0 w 477202"/>
                    <a:gd name="connsiteY2" fmla="*/ 0 h 474345"/>
                    <a:gd name="connsiteX3" fmla="*/ 101917 w 477202"/>
                    <a:gd name="connsiteY3" fmla="*/ 0 h 474345"/>
                    <a:gd name="connsiteX4" fmla="*/ 239077 w 477202"/>
                    <a:gd name="connsiteY4" fmla="*/ 366713 h 474345"/>
                    <a:gd name="connsiteX5" fmla="*/ 376238 w 477202"/>
                    <a:gd name="connsiteY5" fmla="*/ 0 h 474345"/>
                    <a:gd name="connsiteX6" fmla="*/ 477203 w 477202"/>
                    <a:gd name="connsiteY6" fmla="*/ 0 h 474345"/>
                    <a:gd name="connsiteX7" fmla="*/ 477203 w 477202"/>
                    <a:gd name="connsiteY7" fmla="*/ 474345 h 474345"/>
                    <a:gd name="connsiteX8" fmla="*/ 412433 w 477202"/>
                    <a:gd name="connsiteY8" fmla="*/ 474345 h 474345"/>
                    <a:gd name="connsiteX9" fmla="*/ 417195 w 477202"/>
                    <a:gd name="connsiteY9" fmla="*/ 62865 h 474345"/>
                    <a:gd name="connsiteX10" fmla="*/ 262890 w 477202"/>
                    <a:gd name="connsiteY10" fmla="*/ 474345 h 474345"/>
                    <a:gd name="connsiteX11" fmla="*/ 214313 w 477202"/>
                    <a:gd name="connsiteY11" fmla="*/ 474345 h 474345"/>
                    <a:gd name="connsiteX12" fmla="*/ 60960 w 477202"/>
                    <a:gd name="connsiteY12" fmla="*/ 62865 h 474345"/>
                    <a:gd name="connsiteX13" fmla="*/ 65723 w 477202"/>
                    <a:gd name="connsiteY13" fmla="*/ 474345 h 47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7202" h="474345">
                      <a:moveTo>
                        <a:pt x="66675" y="474345"/>
                      </a:moveTo>
                      <a:lnTo>
                        <a:pt x="0" y="474345"/>
                      </a:lnTo>
                      <a:lnTo>
                        <a:pt x="0" y="0"/>
                      </a:lnTo>
                      <a:lnTo>
                        <a:pt x="101917" y="0"/>
                      </a:lnTo>
                      <a:lnTo>
                        <a:pt x="239077" y="366713"/>
                      </a:lnTo>
                      <a:lnTo>
                        <a:pt x="376238" y="0"/>
                      </a:lnTo>
                      <a:lnTo>
                        <a:pt x="477203" y="0"/>
                      </a:lnTo>
                      <a:lnTo>
                        <a:pt x="477203" y="474345"/>
                      </a:lnTo>
                      <a:lnTo>
                        <a:pt x="412433" y="474345"/>
                      </a:lnTo>
                      <a:lnTo>
                        <a:pt x="417195" y="62865"/>
                      </a:lnTo>
                      <a:lnTo>
                        <a:pt x="262890" y="474345"/>
                      </a:lnTo>
                      <a:lnTo>
                        <a:pt x="214313" y="474345"/>
                      </a:lnTo>
                      <a:lnTo>
                        <a:pt x="60960" y="62865"/>
                      </a:lnTo>
                      <a:lnTo>
                        <a:pt x="65723" y="474345"/>
                      </a:lnTo>
                      <a:close/>
                    </a:path>
                  </a:pathLst>
                </a:custGeom>
                <a:solidFill>
                  <a:srgbClr val="1D1D1B"/>
                </a:solidFill>
                <a:ln w="0"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D28A15D8-C8BF-42B5-9EB8-E45F4223D5AF}"/>
                    </a:ext>
                  </a:extLst>
                </p:cNvPr>
                <p:cNvSpPr/>
                <p:nvPr/>
              </p:nvSpPr>
              <p:spPr>
                <a:xfrm>
                  <a:off x="3424830" y="8602528"/>
                  <a:ext cx="368617" cy="378142"/>
                </a:xfrm>
                <a:custGeom>
                  <a:avLst/>
                  <a:gdLst>
                    <a:gd name="connsiteX0" fmla="*/ 68580 w 368617"/>
                    <a:gd name="connsiteY0" fmla="*/ 214313 h 378142"/>
                    <a:gd name="connsiteX1" fmla="*/ 108585 w 368617"/>
                    <a:gd name="connsiteY1" fmla="*/ 286703 h 378142"/>
                    <a:gd name="connsiteX2" fmla="*/ 185738 w 368617"/>
                    <a:gd name="connsiteY2" fmla="*/ 314325 h 378142"/>
                    <a:gd name="connsiteX3" fmla="*/ 243840 w 368617"/>
                    <a:gd name="connsiteY3" fmla="*/ 299085 h 378142"/>
                    <a:gd name="connsiteX4" fmla="*/ 285750 w 368617"/>
                    <a:gd name="connsiteY4" fmla="*/ 256222 h 378142"/>
                    <a:gd name="connsiteX5" fmla="*/ 358140 w 368617"/>
                    <a:gd name="connsiteY5" fmla="*/ 256222 h 378142"/>
                    <a:gd name="connsiteX6" fmla="*/ 288607 w 368617"/>
                    <a:gd name="connsiteY6" fmla="*/ 346710 h 378142"/>
                    <a:gd name="connsiteX7" fmla="*/ 185738 w 368617"/>
                    <a:gd name="connsiteY7" fmla="*/ 378143 h 378142"/>
                    <a:gd name="connsiteX8" fmla="*/ 113347 w 368617"/>
                    <a:gd name="connsiteY8" fmla="*/ 363855 h 378142"/>
                    <a:gd name="connsiteX9" fmla="*/ 53340 w 368617"/>
                    <a:gd name="connsiteY9" fmla="*/ 321945 h 378142"/>
                    <a:gd name="connsiteX10" fmla="*/ 14288 w 368617"/>
                    <a:gd name="connsiteY10" fmla="*/ 260985 h 378142"/>
                    <a:gd name="connsiteX11" fmla="*/ 0 w 368617"/>
                    <a:gd name="connsiteY11" fmla="*/ 189547 h 378142"/>
                    <a:gd name="connsiteX12" fmla="*/ 12382 w 368617"/>
                    <a:gd name="connsiteY12" fmla="*/ 119063 h 378142"/>
                    <a:gd name="connsiteX13" fmla="*/ 50482 w 368617"/>
                    <a:gd name="connsiteY13" fmla="*/ 59055 h 378142"/>
                    <a:gd name="connsiteX14" fmla="*/ 110490 w 368617"/>
                    <a:gd name="connsiteY14" fmla="*/ 15240 h 378142"/>
                    <a:gd name="connsiteX15" fmla="*/ 183832 w 368617"/>
                    <a:gd name="connsiteY15" fmla="*/ 0 h 378142"/>
                    <a:gd name="connsiteX16" fmla="*/ 271463 w 368617"/>
                    <a:gd name="connsiteY16" fmla="*/ 21908 h 378142"/>
                    <a:gd name="connsiteX17" fmla="*/ 338138 w 368617"/>
                    <a:gd name="connsiteY17" fmla="*/ 82868 h 378142"/>
                    <a:gd name="connsiteX18" fmla="*/ 360997 w 368617"/>
                    <a:gd name="connsiteY18" fmla="*/ 136208 h 378142"/>
                    <a:gd name="connsiteX19" fmla="*/ 368617 w 368617"/>
                    <a:gd name="connsiteY19" fmla="*/ 202883 h 378142"/>
                    <a:gd name="connsiteX20" fmla="*/ 368617 w 368617"/>
                    <a:gd name="connsiteY20" fmla="*/ 213360 h 378142"/>
                    <a:gd name="connsiteX21" fmla="*/ 66675 w 368617"/>
                    <a:gd name="connsiteY21" fmla="*/ 213360 h 378142"/>
                    <a:gd name="connsiteX22" fmla="*/ 300038 w 368617"/>
                    <a:gd name="connsiteY22" fmla="*/ 156210 h 378142"/>
                    <a:gd name="connsiteX23" fmla="*/ 258127 w 368617"/>
                    <a:gd name="connsiteY23" fmla="*/ 87630 h 378142"/>
                    <a:gd name="connsiteX24" fmla="*/ 186690 w 368617"/>
                    <a:gd name="connsiteY24" fmla="*/ 63818 h 378142"/>
                    <a:gd name="connsiteX25" fmla="*/ 113347 w 368617"/>
                    <a:gd name="connsiteY25" fmla="*/ 88583 h 378142"/>
                    <a:gd name="connsiteX26" fmla="*/ 70485 w 368617"/>
                    <a:gd name="connsiteY26" fmla="*/ 156210 h 378142"/>
                    <a:gd name="connsiteX27" fmla="*/ 299085 w 368617"/>
                    <a:gd name="connsiteY27" fmla="*/ 156210 h 37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8617" h="378142">
                      <a:moveTo>
                        <a:pt x="68580" y="214313"/>
                      </a:moveTo>
                      <a:cubicBezTo>
                        <a:pt x="74295" y="243840"/>
                        <a:pt x="87630" y="268605"/>
                        <a:pt x="108585" y="286703"/>
                      </a:cubicBezTo>
                      <a:cubicBezTo>
                        <a:pt x="130492" y="304800"/>
                        <a:pt x="156210" y="314325"/>
                        <a:pt x="185738" y="314325"/>
                      </a:cubicBezTo>
                      <a:cubicBezTo>
                        <a:pt x="215265" y="314325"/>
                        <a:pt x="226695" y="309563"/>
                        <a:pt x="243840" y="299085"/>
                      </a:cubicBezTo>
                      <a:cubicBezTo>
                        <a:pt x="260985" y="288608"/>
                        <a:pt x="275272" y="274320"/>
                        <a:pt x="285750" y="256222"/>
                      </a:cubicBezTo>
                      <a:lnTo>
                        <a:pt x="358140" y="256222"/>
                      </a:lnTo>
                      <a:cubicBezTo>
                        <a:pt x="341947" y="296228"/>
                        <a:pt x="318135" y="325755"/>
                        <a:pt x="288607" y="346710"/>
                      </a:cubicBezTo>
                      <a:cubicBezTo>
                        <a:pt x="259080" y="367665"/>
                        <a:pt x="224790" y="378143"/>
                        <a:pt x="185738" y="378143"/>
                      </a:cubicBezTo>
                      <a:cubicBezTo>
                        <a:pt x="146685" y="378143"/>
                        <a:pt x="135255" y="373380"/>
                        <a:pt x="113347" y="363855"/>
                      </a:cubicBezTo>
                      <a:cubicBezTo>
                        <a:pt x="91440" y="354330"/>
                        <a:pt x="71438" y="340995"/>
                        <a:pt x="53340" y="321945"/>
                      </a:cubicBezTo>
                      <a:cubicBezTo>
                        <a:pt x="36195" y="304800"/>
                        <a:pt x="23813" y="283845"/>
                        <a:pt x="14288" y="260985"/>
                      </a:cubicBezTo>
                      <a:cubicBezTo>
                        <a:pt x="4763" y="238125"/>
                        <a:pt x="0" y="214313"/>
                        <a:pt x="0" y="189547"/>
                      </a:cubicBezTo>
                      <a:cubicBezTo>
                        <a:pt x="0" y="164783"/>
                        <a:pt x="3810" y="140970"/>
                        <a:pt x="12382" y="119063"/>
                      </a:cubicBezTo>
                      <a:cubicBezTo>
                        <a:pt x="20955" y="97155"/>
                        <a:pt x="33338" y="77153"/>
                        <a:pt x="50482" y="59055"/>
                      </a:cubicBezTo>
                      <a:cubicBezTo>
                        <a:pt x="68580" y="40005"/>
                        <a:pt x="88582" y="24765"/>
                        <a:pt x="110490" y="15240"/>
                      </a:cubicBezTo>
                      <a:cubicBezTo>
                        <a:pt x="132397" y="5715"/>
                        <a:pt x="157163" y="0"/>
                        <a:pt x="183832" y="0"/>
                      </a:cubicBezTo>
                      <a:cubicBezTo>
                        <a:pt x="210502" y="0"/>
                        <a:pt x="244792" y="7620"/>
                        <a:pt x="271463" y="21908"/>
                      </a:cubicBezTo>
                      <a:cubicBezTo>
                        <a:pt x="298132" y="36195"/>
                        <a:pt x="320992" y="57150"/>
                        <a:pt x="338138" y="82868"/>
                      </a:cubicBezTo>
                      <a:cubicBezTo>
                        <a:pt x="348615" y="99060"/>
                        <a:pt x="356235" y="117158"/>
                        <a:pt x="360997" y="136208"/>
                      </a:cubicBezTo>
                      <a:cubicBezTo>
                        <a:pt x="365760" y="155258"/>
                        <a:pt x="368617" y="178118"/>
                        <a:pt x="368617" y="202883"/>
                      </a:cubicBezTo>
                      <a:lnTo>
                        <a:pt x="368617" y="213360"/>
                      </a:lnTo>
                      <a:lnTo>
                        <a:pt x="66675" y="213360"/>
                      </a:lnTo>
                      <a:close/>
                      <a:moveTo>
                        <a:pt x="300038" y="156210"/>
                      </a:moveTo>
                      <a:cubicBezTo>
                        <a:pt x="292417" y="126683"/>
                        <a:pt x="278130" y="103822"/>
                        <a:pt x="258127" y="87630"/>
                      </a:cubicBezTo>
                      <a:cubicBezTo>
                        <a:pt x="238125" y="71438"/>
                        <a:pt x="214313" y="63818"/>
                        <a:pt x="186690" y="63818"/>
                      </a:cubicBezTo>
                      <a:cubicBezTo>
                        <a:pt x="159067" y="63818"/>
                        <a:pt x="134302" y="72390"/>
                        <a:pt x="113347" y="88583"/>
                      </a:cubicBezTo>
                      <a:cubicBezTo>
                        <a:pt x="92392" y="104775"/>
                        <a:pt x="78105" y="127635"/>
                        <a:pt x="70485" y="156210"/>
                      </a:cubicBezTo>
                      <a:lnTo>
                        <a:pt x="299085" y="156210"/>
                      </a:lnTo>
                      <a:close/>
                    </a:path>
                  </a:pathLst>
                </a:custGeom>
                <a:solidFill>
                  <a:srgbClr val="1D1D1B"/>
                </a:solidFill>
                <a:ln w="0"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176349EC-C229-E88E-AEFB-6FB38BD357D2}"/>
                    </a:ext>
                  </a:extLst>
                </p:cNvPr>
                <p:cNvSpPr/>
                <p:nvPr/>
              </p:nvSpPr>
              <p:spPr>
                <a:xfrm>
                  <a:off x="3873457" y="8497753"/>
                  <a:ext cx="373379" cy="482917"/>
                </a:xfrm>
                <a:custGeom>
                  <a:avLst/>
                  <a:gdLst>
                    <a:gd name="connsiteX0" fmla="*/ 307658 w 373379"/>
                    <a:gd name="connsiteY0" fmla="*/ 474345 h 482917"/>
                    <a:gd name="connsiteX1" fmla="*/ 307658 w 373379"/>
                    <a:gd name="connsiteY1" fmla="*/ 430530 h 482917"/>
                    <a:gd name="connsiteX2" fmla="*/ 252413 w 373379"/>
                    <a:gd name="connsiteY2" fmla="*/ 469583 h 482917"/>
                    <a:gd name="connsiteX3" fmla="*/ 187642 w 373379"/>
                    <a:gd name="connsiteY3" fmla="*/ 482918 h 482917"/>
                    <a:gd name="connsiteX4" fmla="*/ 53340 w 373379"/>
                    <a:gd name="connsiteY4" fmla="*/ 428625 h 482917"/>
                    <a:gd name="connsiteX5" fmla="*/ 0 w 373379"/>
                    <a:gd name="connsiteY5" fmla="*/ 293370 h 482917"/>
                    <a:gd name="connsiteX6" fmla="*/ 13335 w 373379"/>
                    <a:gd name="connsiteY6" fmla="*/ 221933 h 482917"/>
                    <a:gd name="connsiteX7" fmla="*/ 51435 w 373379"/>
                    <a:gd name="connsiteY7" fmla="*/ 161925 h 482917"/>
                    <a:gd name="connsiteX8" fmla="*/ 110490 w 373379"/>
                    <a:gd name="connsiteY8" fmla="*/ 120015 h 482917"/>
                    <a:gd name="connsiteX9" fmla="*/ 183833 w 373379"/>
                    <a:gd name="connsiteY9" fmla="*/ 106680 h 482917"/>
                    <a:gd name="connsiteX10" fmla="*/ 251460 w 373379"/>
                    <a:gd name="connsiteY10" fmla="*/ 120015 h 482917"/>
                    <a:gd name="connsiteX11" fmla="*/ 308610 w 373379"/>
                    <a:gd name="connsiteY11" fmla="*/ 159068 h 482917"/>
                    <a:gd name="connsiteX12" fmla="*/ 308610 w 373379"/>
                    <a:gd name="connsiteY12" fmla="*/ 0 h 482917"/>
                    <a:gd name="connsiteX13" fmla="*/ 373380 w 373379"/>
                    <a:gd name="connsiteY13" fmla="*/ 0 h 482917"/>
                    <a:gd name="connsiteX14" fmla="*/ 373380 w 373379"/>
                    <a:gd name="connsiteY14" fmla="*/ 474345 h 482917"/>
                    <a:gd name="connsiteX15" fmla="*/ 308610 w 373379"/>
                    <a:gd name="connsiteY15" fmla="*/ 474345 h 482917"/>
                    <a:gd name="connsiteX16" fmla="*/ 65723 w 373379"/>
                    <a:gd name="connsiteY16" fmla="*/ 293370 h 482917"/>
                    <a:gd name="connsiteX17" fmla="*/ 101917 w 373379"/>
                    <a:gd name="connsiteY17" fmla="*/ 384810 h 482917"/>
                    <a:gd name="connsiteX18" fmla="*/ 190500 w 373379"/>
                    <a:gd name="connsiteY18" fmla="*/ 421958 h 482917"/>
                    <a:gd name="connsiteX19" fmla="*/ 274320 w 373379"/>
                    <a:gd name="connsiteY19" fmla="*/ 384810 h 482917"/>
                    <a:gd name="connsiteX20" fmla="*/ 310515 w 373379"/>
                    <a:gd name="connsiteY20" fmla="*/ 298133 h 482917"/>
                    <a:gd name="connsiteX21" fmla="*/ 274320 w 373379"/>
                    <a:gd name="connsiteY21" fmla="*/ 207645 h 482917"/>
                    <a:gd name="connsiteX22" fmla="*/ 188595 w 373379"/>
                    <a:gd name="connsiteY22" fmla="*/ 169545 h 482917"/>
                    <a:gd name="connsiteX23" fmla="*/ 101917 w 373379"/>
                    <a:gd name="connsiteY23" fmla="*/ 205740 h 482917"/>
                    <a:gd name="connsiteX24" fmla="*/ 65723 w 373379"/>
                    <a:gd name="connsiteY24" fmla="*/ 293370 h 48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3379" h="482917">
                      <a:moveTo>
                        <a:pt x="307658" y="474345"/>
                      </a:moveTo>
                      <a:lnTo>
                        <a:pt x="307658" y="430530"/>
                      </a:lnTo>
                      <a:cubicBezTo>
                        <a:pt x="291465" y="447675"/>
                        <a:pt x="272415" y="461010"/>
                        <a:pt x="252413" y="469583"/>
                      </a:cubicBezTo>
                      <a:cubicBezTo>
                        <a:pt x="232410" y="478155"/>
                        <a:pt x="210503" y="482918"/>
                        <a:pt x="187642" y="482918"/>
                      </a:cubicBezTo>
                      <a:cubicBezTo>
                        <a:pt x="133350" y="482918"/>
                        <a:pt x="88583" y="464820"/>
                        <a:pt x="53340" y="428625"/>
                      </a:cubicBezTo>
                      <a:cubicBezTo>
                        <a:pt x="18098" y="392430"/>
                        <a:pt x="0" y="347663"/>
                        <a:pt x="0" y="293370"/>
                      </a:cubicBezTo>
                      <a:cubicBezTo>
                        <a:pt x="0" y="239078"/>
                        <a:pt x="4763" y="244793"/>
                        <a:pt x="13335" y="221933"/>
                      </a:cubicBezTo>
                      <a:cubicBezTo>
                        <a:pt x="21908" y="199072"/>
                        <a:pt x="35242" y="179070"/>
                        <a:pt x="51435" y="161925"/>
                      </a:cubicBezTo>
                      <a:cubicBezTo>
                        <a:pt x="69533" y="142875"/>
                        <a:pt x="89535" y="129540"/>
                        <a:pt x="110490" y="120015"/>
                      </a:cubicBezTo>
                      <a:cubicBezTo>
                        <a:pt x="131445" y="111443"/>
                        <a:pt x="156210" y="106680"/>
                        <a:pt x="183833" y="106680"/>
                      </a:cubicBezTo>
                      <a:cubicBezTo>
                        <a:pt x="211455" y="106680"/>
                        <a:pt x="230505" y="111443"/>
                        <a:pt x="251460" y="120015"/>
                      </a:cubicBezTo>
                      <a:cubicBezTo>
                        <a:pt x="272415" y="128588"/>
                        <a:pt x="291465" y="141922"/>
                        <a:pt x="308610" y="159068"/>
                      </a:cubicBezTo>
                      <a:lnTo>
                        <a:pt x="308610" y="0"/>
                      </a:lnTo>
                      <a:lnTo>
                        <a:pt x="373380" y="0"/>
                      </a:lnTo>
                      <a:lnTo>
                        <a:pt x="373380" y="474345"/>
                      </a:lnTo>
                      <a:lnTo>
                        <a:pt x="308610" y="474345"/>
                      </a:lnTo>
                      <a:close/>
                      <a:moveTo>
                        <a:pt x="65723" y="293370"/>
                      </a:moveTo>
                      <a:cubicBezTo>
                        <a:pt x="65723" y="329565"/>
                        <a:pt x="78105" y="360045"/>
                        <a:pt x="101917" y="384810"/>
                      </a:cubicBezTo>
                      <a:cubicBezTo>
                        <a:pt x="125730" y="409575"/>
                        <a:pt x="155258" y="421958"/>
                        <a:pt x="190500" y="421958"/>
                      </a:cubicBezTo>
                      <a:cubicBezTo>
                        <a:pt x="225742" y="421958"/>
                        <a:pt x="250508" y="409575"/>
                        <a:pt x="274320" y="384810"/>
                      </a:cubicBezTo>
                      <a:cubicBezTo>
                        <a:pt x="298133" y="360045"/>
                        <a:pt x="310515" y="331470"/>
                        <a:pt x="310515" y="298133"/>
                      </a:cubicBezTo>
                      <a:cubicBezTo>
                        <a:pt x="310515" y="264795"/>
                        <a:pt x="298133" y="232410"/>
                        <a:pt x="274320" y="207645"/>
                      </a:cubicBezTo>
                      <a:cubicBezTo>
                        <a:pt x="250508" y="182880"/>
                        <a:pt x="221933" y="169545"/>
                        <a:pt x="188595" y="169545"/>
                      </a:cubicBezTo>
                      <a:cubicBezTo>
                        <a:pt x="155258" y="169545"/>
                        <a:pt x="125730" y="181928"/>
                        <a:pt x="101917" y="205740"/>
                      </a:cubicBezTo>
                      <a:cubicBezTo>
                        <a:pt x="78105" y="229553"/>
                        <a:pt x="65723" y="259080"/>
                        <a:pt x="65723" y="293370"/>
                      </a:cubicBezTo>
                      <a:close/>
                    </a:path>
                  </a:pathLst>
                </a:custGeom>
                <a:solidFill>
                  <a:srgbClr val="1D1D1B"/>
                </a:solidFill>
                <a:ln w="0"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D4DC0D60-39CD-5E61-F6E9-64D6149D2EA7}"/>
                    </a:ext>
                  </a:extLst>
                </p:cNvPr>
                <p:cNvSpPr/>
                <p:nvPr/>
              </p:nvSpPr>
              <p:spPr>
                <a:xfrm>
                  <a:off x="4361137" y="8497753"/>
                  <a:ext cx="63817" cy="474345"/>
                </a:xfrm>
                <a:custGeom>
                  <a:avLst/>
                  <a:gdLst>
                    <a:gd name="connsiteX0" fmla="*/ 63818 w 63817"/>
                    <a:gd name="connsiteY0" fmla="*/ 74295 h 474345"/>
                    <a:gd name="connsiteX1" fmla="*/ 0 w 63817"/>
                    <a:gd name="connsiteY1" fmla="*/ 74295 h 474345"/>
                    <a:gd name="connsiteX2" fmla="*/ 0 w 63817"/>
                    <a:gd name="connsiteY2" fmla="*/ 0 h 474345"/>
                    <a:gd name="connsiteX3" fmla="*/ 63818 w 63817"/>
                    <a:gd name="connsiteY3" fmla="*/ 0 h 474345"/>
                    <a:gd name="connsiteX4" fmla="*/ 63818 w 63817"/>
                    <a:gd name="connsiteY4" fmla="*/ 74295 h 474345"/>
                    <a:gd name="connsiteX5" fmla="*/ 0 w 63817"/>
                    <a:gd name="connsiteY5" fmla="*/ 474345 h 474345"/>
                    <a:gd name="connsiteX6" fmla="*/ 0 w 63817"/>
                    <a:gd name="connsiteY6" fmla="*/ 116205 h 474345"/>
                    <a:gd name="connsiteX7" fmla="*/ 63818 w 63817"/>
                    <a:gd name="connsiteY7" fmla="*/ 116205 h 474345"/>
                    <a:gd name="connsiteX8" fmla="*/ 63818 w 63817"/>
                    <a:gd name="connsiteY8" fmla="*/ 474345 h 474345"/>
                    <a:gd name="connsiteX9" fmla="*/ 0 w 63817"/>
                    <a:gd name="connsiteY9" fmla="*/ 474345 h 47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17" h="474345">
                      <a:moveTo>
                        <a:pt x="63818" y="74295"/>
                      </a:moveTo>
                      <a:lnTo>
                        <a:pt x="0" y="74295"/>
                      </a:lnTo>
                      <a:lnTo>
                        <a:pt x="0" y="0"/>
                      </a:lnTo>
                      <a:lnTo>
                        <a:pt x="63818" y="0"/>
                      </a:lnTo>
                      <a:lnTo>
                        <a:pt x="63818" y="74295"/>
                      </a:lnTo>
                      <a:close/>
                      <a:moveTo>
                        <a:pt x="0" y="474345"/>
                      </a:moveTo>
                      <a:lnTo>
                        <a:pt x="0" y="116205"/>
                      </a:lnTo>
                      <a:lnTo>
                        <a:pt x="63818" y="116205"/>
                      </a:lnTo>
                      <a:lnTo>
                        <a:pt x="63818" y="474345"/>
                      </a:lnTo>
                      <a:lnTo>
                        <a:pt x="0" y="474345"/>
                      </a:lnTo>
                      <a:close/>
                    </a:path>
                  </a:pathLst>
                </a:custGeom>
                <a:solidFill>
                  <a:srgbClr val="1D1D1B"/>
                </a:solidFill>
                <a:ln w="0"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CDB92475-4F6D-8EC8-79B0-A3A72FDF186D}"/>
                    </a:ext>
                  </a:extLst>
                </p:cNvPr>
                <p:cNvSpPr/>
                <p:nvPr/>
              </p:nvSpPr>
              <p:spPr>
                <a:xfrm>
                  <a:off x="4522110" y="8602528"/>
                  <a:ext cx="368617" cy="378142"/>
                </a:xfrm>
                <a:custGeom>
                  <a:avLst/>
                  <a:gdLst>
                    <a:gd name="connsiteX0" fmla="*/ 66675 w 368617"/>
                    <a:gd name="connsiteY0" fmla="*/ 214313 h 378142"/>
                    <a:gd name="connsiteX1" fmla="*/ 107633 w 368617"/>
                    <a:gd name="connsiteY1" fmla="*/ 286703 h 378142"/>
                    <a:gd name="connsiteX2" fmla="*/ 184785 w 368617"/>
                    <a:gd name="connsiteY2" fmla="*/ 314325 h 378142"/>
                    <a:gd name="connsiteX3" fmla="*/ 242888 w 368617"/>
                    <a:gd name="connsiteY3" fmla="*/ 299085 h 378142"/>
                    <a:gd name="connsiteX4" fmla="*/ 284798 w 368617"/>
                    <a:gd name="connsiteY4" fmla="*/ 256222 h 378142"/>
                    <a:gd name="connsiteX5" fmla="*/ 357188 w 368617"/>
                    <a:gd name="connsiteY5" fmla="*/ 256222 h 378142"/>
                    <a:gd name="connsiteX6" fmla="*/ 287655 w 368617"/>
                    <a:gd name="connsiteY6" fmla="*/ 346710 h 378142"/>
                    <a:gd name="connsiteX7" fmla="*/ 184785 w 368617"/>
                    <a:gd name="connsiteY7" fmla="*/ 378143 h 378142"/>
                    <a:gd name="connsiteX8" fmla="*/ 112395 w 368617"/>
                    <a:gd name="connsiteY8" fmla="*/ 363855 h 378142"/>
                    <a:gd name="connsiteX9" fmla="*/ 53340 w 368617"/>
                    <a:gd name="connsiteY9" fmla="*/ 321945 h 378142"/>
                    <a:gd name="connsiteX10" fmla="*/ 14288 w 368617"/>
                    <a:gd name="connsiteY10" fmla="*/ 260985 h 378142"/>
                    <a:gd name="connsiteX11" fmla="*/ 0 w 368617"/>
                    <a:gd name="connsiteY11" fmla="*/ 189547 h 378142"/>
                    <a:gd name="connsiteX12" fmla="*/ 12383 w 368617"/>
                    <a:gd name="connsiteY12" fmla="*/ 119063 h 378142"/>
                    <a:gd name="connsiteX13" fmla="*/ 50483 w 368617"/>
                    <a:gd name="connsiteY13" fmla="*/ 59055 h 378142"/>
                    <a:gd name="connsiteX14" fmla="*/ 110490 w 368617"/>
                    <a:gd name="connsiteY14" fmla="*/ 15240 h 378142"/>
                    <a:gd name="connsiteX15" fmla="*/ 183833 w 368617"/>
                    <a:gd name="connsiteY15" fmla="*/ 0 h 378142"/>
                    <a:gd name="connsiteX16" fmla="*/ 271463 w 368617"/>
                    <a:gd name="connsiteY16" fmla="*/ 21908 h 378142"/>
                    <a:gd name="connsiteX17" fmla="*/ 338138 w 368617"/>
                    <a:gd name="connsiteY17" fmla="*/ 82868 h 378142"/>
                    <a:gd name="connsiteX18" fmla="*/ 360998 w 368617"/>
                    <a:gd name="connsiteY18" fmla="*/ 136208 h 378142"/>
                    <a:gd name="connsiteX19" fmla="*/ 368618 w 368617"/>
                    <a:gd name="connsiteY19" fmla="*/ 202883 h 378142"/>
                    <a:gd name="connsiteX20" fmla="*/ 368618 w 368617"/>
                    <a:gd name="connsiteY20" fmla="*/ 213360 h 378142"/>
                    <a:gd name="connsiteX21" fmla="*/ 66675 w 368617"/>
                    <a:gd name="connsiteY21" fmla="*/ 213360 h 378142"/>
                    <a:gd name="connsiteX22" fmla="*/ 298133 w 368617"/>
                    <a:gd name="connsiteY22" fmla="*/ 156210 h 378142"/>
                    <a:gd name="connsiteX23" fmla="*/ 256223 w 368617"/>
                    <a:gd name="connsiteY23" fmla="*/ 87630 h 378142"/>
                    <a:gd name="connsiteX24" fmla="*/ 184785 w 368617"/>
                    <a:gd name="connsiteY24" fmla="*/ 63818 h 378142"/>
                    <a:gd name="connsiteX25" fmla="*/ 111443 w 368617"/>
                    <a:gd name="connsiteY25" fmla="*/ 88583 h 378142"/>
                    <a:gd name="connsiteX26" fmla="*/ 68580 w 368617"/>
                    <a:gd name="connsiteY26" fmla="*/ 156210 h 378142"/>
                    <a:gd name="connsiteX27" fmla="*/ 297180 w 368617"/>
                    <a:gd name="connsiteY27" fmla="*/ 156210 h 37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8617" h="378142">
                      <a:moveTo>
                        <a:pt x="66675" y="214313"/>
                      </a:moveTo>
                      <a:cubicBezTo>
                        <a:pt x="72390" y="243840"/>
                        <a:pt x="85725" y="268605"/>
                        <a:pt x="107633" y="286703"/>
                      </a:cubicBezTo>
                      <a:cubicBezTo>
                        <a:pt x="129540" y="304800"/>
                        <a:pt x="155258" y="314325"/>
                        <a:pt x="184785" y="314325"/>
                      </a:cubicBezTo>
                      <a:cubicBezTo>
                        <a:pt x="214313" y="314325"/>
                        <a:pt x="225743" y="309563"/>
                        <a:pt x="242888" y="299085"/>
                      </a:cubicBezTo>
                      <a:cubicBezTo>
                        <a:pt x="260033" y="288608"/>
                        <a:pt x="274320" y="274320"/>
                        <a:pt x="284798" y="256222"/>
                      </a:cubicBezTo>
                      <a:lnTo>
                        <a:pt x="357188" y="256222"/>
                      </a:lnTo>
                      <a:cubicBezTo>
                        <a:pt x="340995" y="296228"/>
                        <a:pt x="317183" y="325755"/>
                        <a:pt x="287655" y="346710"/>
                      </a:cubicBezTo>
                      <a:cubicBezTo>
                        <a:pt x="258128" y="367665"/>
                        <a:pt x="223838" y="378143"/>
                        <a:pt x="184785" y="378143"/>
                      </a:cubicBezTo>
                      <a:cubicBezTo>
                        <a:pt x="145733" y="378143"/>
                        <a:pt x="134303" y="373380"/>
                        <a:pt x="112395" y="363855"/>
                      </a:cubicBezTo>
                      <a:cubicBezTo>
                        <a:pt x="90488" y="354330"/>
                        <a:pt x="70485" y="340995"/>
                        <a:pt x="53340" y="321945"/>
                      </a:cubicBezTo>
                      <a:cubicBezTo>
                        <a:pt x="36195" y="304800"/>
                        <a:pt x="23813" y="283845"/>
                        <a:pt x="14288" y="260985"/>
                      </a:cubicBezTo>
                      <a:cubicBezTo>
                        <a:pt x="4763" y="238125"/>
                        <a:pt x="0" y="214313"/>
                        <a:pt x="0" y="189547"/>
                      </a:cubicBezTo>
                      <a:cubicBezTo>
                        <a:pt x="0" y="164783"/>
                        <a:pt x="3810" y="140970"/>
                        <a:pt x="12383" y="119063"/>
                      </a:cubicBezTo>
                      <a:cubicBezTo>
                        <a:pt x="20955" y="97155"/>
                        <a:pt x="33338" y="77153"/>
                        <a:pt x="50483" y="59055"/>
                      </a:cubicBezTo>
                      <a:cubicBezTo>
                        <a:pt x="68580" y="40005"/>
                        <a:pt x="88583" y="24765"/>
                        <a:pt x="110490" y="15240"/>
                      </a:cubicBezTo>
                      <a:cubicBezTo>
                        <a:pt x="133350" y="5715"/>
                        <a:pt x="157163" y="0"/>
                        <a:pt x="183833" y="0"/>
                      </a:cubicBezTo>
                      <a:cubicBezTo>
                        <a:pt x="210503" y="0"/>
                        <a:pt x="244793" y="7620"/>
                        <a:pt x="271463" y="21908"/>
                      </a:cubicBezTo>
                      <a:cubicBezTo>
                        <a:pt x="298133" y="36195"/>
                        <a:pt x="320993" y="57150"/>
                        <a:pt x="338138" y="82868"/>
                      </a:cubicBezTo>
                      <a:cubicBezTo>
                        <a:pt x="348615" y="99060"/>
                        <a:pt x="356235" y="117158"/>
                        <a:pt x="360998" y="136208"/>
                      </a:cubicBezTo>
                      <a:cubicBezTo>
                        <a:pt x="365760" y="155258"/>
                        <a:pt x="368618" y="178118"/>
                        <a:pt x="368618" y="202883"/>
                      </a:cubicBezTo>
                      <a:lnTo>
                        <a:pt x="368618" y="213360"/>
                      </a:lnTo>
                      <a:lnTo>
                        <a:pt x="66675" y="213360"/>
                      </a:lnTo>
                      <a:close/>
                      <a:moveTo>
                        <a:pt x="298133" y="156210"/>
                      </a:moveTo>
                      <a:cubicBezTo>
                        <a:pt x="290513" y="126683"/>
                        <a:pt x="276225" y="103822"/>
                        <a:pt x="256223" y="87630"/>
                      </a:cubicBezTo>
                      <a:cubicBezTo>
                        <a:pt x="236220" y="71438"/>
                        <a:pt x="212408" y="63818"/>
                        <a:pt x="184785" y="63818"/>
                      </a:cubicBezTo>
                      <a:cubicBezTo>
                        <a:pt x="157163" y="63818"/>
                        <a:pt x="132398" y="72390"/>
                        <a:pt x="111443" y="88583"/>
                      </a:cubicBezTo>
                      <a:cubicBezTo>
                        <a:pt x="90488" y="104775"/>
                        <a:pt x="76200" y="127635"/>
                        <a:pt x="68580" y="156210"/>
                      </a:cubicBezTo>
                      <a:lnTo>
                        <a:pt x="297180" y="156210"/>
                      </a:lnTo>
                      <a:close/>
                    </a:path>
                  </a:pathLst>
                </a:custGeom>
                <a:solidFill>
                  <a:srgbClr val="1D1D1B"/>
                </a:solidFill>
                <a:ln w="0"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94E59A4-E052-50A8-9AA1-5176920AB5D2}"/>
                    </a:ext>
                  </a:extLst>
                </p:cNvPr>
                <p:cNvSpPr/>
                <p:nvPr/>
              </p:nvSpPr>
              <p:spPr>
                <a:xfrm>
                  <a:off x="4985978" y="8608244"/>
                  <a:ext cx="307657" cy="363855"/>
                </a:xfrm>
                <a:custGeom>
                  <a:avLst/>
                  <a:gdLst>
                    <a:gd name="connsiteX0" fmla="*/ 64770 w 307657"/>
                    <a:gd name="connsiteY0" fmla="*/ 363855 h 363855"/>
                    <a:gd name="connsiteX1" fmla="*/ 0 w 307657"/>
                    <a:gd name="connsiteY1" fmla="*/ 363855 h 363855"/>
                    <a:gd name="connsiteX2" fmla="*/ 0 w 307657"/>
                    <a:gd name="connsiteY2" fmla="*/ 5715 h 363855"/>
                    <a:gd name="connsiteX3" fmla="*/ 61913 w 307657"/>
                    <a:gd name="connsiteY3" fmla="*/ 5715 h 363855"/>
                    <a:gd name="connsiteX4" fmla="*/ 61913 w 307657"/>
                    <a:gd name="connsiteY4" fmla="*/ 46672 h 363855"/>
                    <a:gd name="connsiteX5" fmla="*/ 106680 w 307657"/>
                    <a:gd name="connsiteY5" fmla="*/ 11430 h 363855"/>
                    <a:gd name="connsiteX6" fmla="*/ 161925 w 307657"/>
                    <a:gd name="connsiteY6" fmla="*/ 0 h 363855"/>
                    <a:gd name="connsiteX7" fmla="*/ 269557 w 307657"/>
                    <a:gd name="connsiteY7" fmla="*/ 40957 h 363855"/>
                    <a:gd name="connsiteX8" fmla="*/ 307657 w 307657"/>
                    <a:gd name="connsiteY8" fmla="*/ 159068 h 363855"/>
                    <a:gd name="connsiteX9" fmla="*/ 307657 w 307657"/>
                    <a:gd name="connsiteY9" fmla="*/ 362903 h 363855"/>
                    <a:gd name="connsiteX10" fmla="*/ 242888 w 307657"/>
                    <a:gd name="connsiteY10" fmla="*/ 362903 h 363855"/>
                    <a:gd name="connsiteX11" fmla="*/ 242888 w 307657"/>
                    <a:gd name="connsiteY11" fmla="*/ 172403 h 363855"/>
                    <a:gd name="connsiteX12" fmla="*/ 221932 w 307657"/>
                    <a:gd name="connsiteY12" fmla="*/ 87630 h 363855"/>
                    <a:gd name="connsiteX13" fmla="*/ 156210 w 307657"/>
                    <a:gd name="connsiteY13" fmla="*/ 60007 h 363855"/>
                    <a:gd name="connsiteX14" fmla="*/ 86678 w 307657"/>
                    <a:gd name="connsiteY14" fmla="*/ 92393 h 363855"/>
                    <a:gd name="connsiteX15" fmla="*/ 64770 w 307657"/>
                    <a:gd name="connsiteY15" fmla="*/ 199072 h 363855"/>
                    <a:gd name="connsiteX16" fmla="*/ 64770 w 307657"/>
                    <a:gd name="connsiteY16" fmla="*/ 361950 h 36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657" h="363855">
                      <a:moveTo>
                        <a:pt x="64770" y="363855"/>
                      </a:moveTo>
                      <a:lnTo>
                        <a:pt x="0" y="363855"/>
                      </a:lnTo>
                      <a:lnTo>
                        <a:pt x="0" y="5715"/>
                      </a:lnTo>
                      <a:lnTo>
                        <a:pt x="61913" y="5715"/>
                      </a:lnTo>
                      <a:lnTo>
                        <a:pt x="61913" y="46672"/>
                      </a:lnTo>
                      <a:cubicBezTo>
                        <a:pt x="75247" y="30480"/>
                        <a:pt x="90488" y="19050"/>
                        <a:pt x="106680" y="11430"/>
                      </a:cubicBezTo>
                      <a:cubicBezTo>
                        <a:pt x="122872" y="3810"/>
                        <a:pt x="140970" y="0"/>
                        <a:pt x="161925" y="0"/>
                      </a:cubicBezTo>
                      <a:cubicBezTo>
                        <a:pt x="208597" y="0"/>
                        <a:pt x="244793" y="13335"/>
                        <a:pt x="269557" y="40957"/>
                      </a:cubicBezTo>
                      <a:cubicBezTo>
                        <a:pt x="294322" y="68580"/>
                        <a:pt x="307657" y="107632"/>
                        <a:pt x="307657" y="159068"/>
                      </a:cubicBezTo>
                      <a:lnTo>
                        <a:pt x="307657" y="362903"/>
                      </a:lnTo>
                      <a:lnTo>
                        <a:pt x="242888" y="362903"/>
                      </a:lnTo>
                      <a:lnTo>
                        <a:pt x="242888" y="172403"/>
                      </a:lnTo>
                      <a:cubicBezTo>
                        <a:pt x="242888" y="134303"/>
                        <a:pt x="236220" y="106680"/>
                        <a:pt x="221932" y="87630"/>
                      </a:cubicBezTo>
                      <a:cubicBezTo>
                        <a:pt x="207645" y="69532"/>
                        <a:pt x="185738" y="60007"/>
                        <a:pt x="156210" y="60007"/>
                      </a:cubicBezTo>
                      <a:cubicBezTo>
                        <a:pt x="126682" y="60007"/>
                        <a:pt x="100965" y="70485"/>
                        <a:pt x="86678" y="92393"/>
                      </a:cubicBezTo>
                      <a:cubicBezTo>
                        <a:pt x="72390" y="114300"/>
                        <a:pt x="64770" y="149543"/>
                        <a:pt x="64770" y="199072"/>
                      </a:cubicBezTo>
                      <a:lnTo>
                        <a:pt x="64770" y="361950"/>
                      </a:lnTo>
                      <a:close/>
                    </a:path>
                  </a:pathLst>
                </a:custGeom>
                <a:solidFill>
                  <a:srgbClr val="1D1D1B"/>
                </a:solidFill>
                <a:ln w="0"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3989426C-9070-07B6-AA04-AB65501A929C}"/>
                    </a:ext>
                  </a:extLst>
                </p:cNvPr>
                <p:cNvSpPr/>
                <p:nvPr/>
              </p:nvSpPr>
              <p:spPr>
                <a:xfrm>
                  <a:off x="5406983" y="8606338"/>
                  <a:ext cx="372427" cy="482917"/>
                </a:xfrm>
                <a:custGeom>
                  <a:avLst/>
                  <a:gdLst>
                    <a:gd name="connsiteX0" fmla="*/ 64770 w 372427"/>
                    <a:gd name="connsiteY0" fmla="*/ 322898 h 482917"/>
                    <a:gd name="connsiteX1" fmla="*/ 64770 w 372427"/>
                    <a:gd name="connsiteY1" fmla="*/ 482918 h 482917"/>
                    <a:gd name="connsiteX2" fmla="*/ 0 w 372427"/>
                    <a:gd name="connsiteY2" fmla="*/ 482918 h 482917"/>
                    <a:gd name="connsiteX3" fmla="*/ 0 w 372427"/>
                    <a:gd name="connsiteY3" fmla="*/ 8573 h 482917"/>
                    <a:gd name="connsiteX4" fmla="*/ 64770 w 372427"/>
                    <a:gd name="connsiteY4" fmla="*/ 8573 h 482917"/>
                    <a:gd name="connsiteX5" fmla="*/ 64770 w 372427"/>
                    <a:gd name="connsiteY5" fmla="*/ 52388 h 482917"/>
                    <a:gd name="connsiteX6" fmla="*/ 120015 w 372427"/>
                    <a:gd name="connsiteY6" fmla="*/ 13335 h 482917"/>
                    <a:gd name="connsiteX7" fmla="*/ 184785 w 372427"/>
                    <a:gd name="connsiteY7" fmla="*/ 0 h 482917"/>
                    <a:gd name="connsiteX8" fmla="*/ 319088 w 372427"/>
                    <a:gd name="connsiteY8" fmla="*/ 53340 h 482917"/>
                    <a:gd name="connsiteX9" fmla="*/ 372427 w 372427"/>
                    <a:gd name="connsiteY9" fmla="*/ 188595 h 482917"/>
                    <a:gd name="connsiteX10" fmla="*/ 359092 w 372427"/>
                    <a:gd name="connsiteY10" fmla="*/ 260033 h 482917"/>
                    <a:gd name="connsiteX11" fmla="*/ 320992 w 372427"/>
                    <a:gd name="connsiteY11" fmla="*/ 320040 h 482917"/>
                    <a:gd name="connsiteX12" fmla="*/ 261938 w 372427"/>
                    <a:gd name="connsiteY12" fmla="*/ 361950 h 482917"/>
                    <a:gd name="connsiteX13" fmla="*/ 188595 w 372427"/>
                    <a:gd name="connsiteY13" fmla="*/ 375285 h 482917"/>
                    <a:gd name="connsiteX14" fmla="*/ 120967 w 372427"/>
                    <a:gd name="connsiteY14" fmla="*/ 361950 h 482917"/>
                    <a:gd name="connsiteX15" fmla="*/ 63817 w 372427"/>
                    <a:gd name="connsiteY15" fmla="*/ 321945 h 482917"/>
                    <a:gd name="connsiteX16" fmla="*/ 62865 w 372427"/>
                    <a:gd name="connsiteY16" fmla="*/ 184785 h 482917"/>
                    <a:gd name="connsiteX17" fmla="*/ 98107 w 372427"/>
                    <a:gd name="connsiteY17" fmla="*/ 275273 h 482917"/>
                    <a:gd name="connsiteX18" fmla="*/ 182880 w 372427"/>
                    <a:gd name="connsiteY18" fmla="*/ 312420 h 482917"/>
                    <a:gd name="connsiteX19" fmla="*/ 269557 w 372427"/>
                    <a:gd name="connsiteY19" fmla="*/ 276225 h 482917"/>
                    <a:gd name="connsiteX20" fmla="*/ 305752 w 372427"/>
                    <a:gd name="connsiteY20" fmla="*/ 188595 h 482917"/>
                    <a:gd name="connsiteX21" fmla="*/ 269557 w 372427"/>
                    <a:gd name="connsiteY21" fmla="*/ 97155 h 482917"/>
                    <a:gd name="connsiteX22" fmla="*/ 181927 w 372427"/>
                    <a:gd name="connsiteY22" fmla="*/ 60008 h 482917"/>
                    <a:gd name="connsiteX23" fmla="*/ 98107 w 372427"/>
                    <a:gd name="connsiteY23" fmla="*/ 97155 h 482917"/>
                    <a:gd name="connsiteX24" fmla="*/ 61913 w 372427"/>
                    <a:gd name="connsiteY24" fmla="*/ 183833 h 48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2427" h="482917">
                      <a:moveTo>
                        <a:pt x="64770" y="322898"/>
                      </a:moveTo>
                      <a:lnTo>
                        <a:pt x="64770" y="482918"/>
                      </a:lnTo>
                      <a:lnTo>
                        <a:pt x="0" y="482918"/>
                      </a:lnTo>
                      <a:lnTo>
                        <a:pt x="0" y="8573"/>
                      </a:lnTo>
                      <a:lnTo>
                        <a:pt x="64770" y="8573"/>
                      </a:lnTo>
                      <a:lnTo>
                        <a:pt x="64770" y="52388"/>
                      </a:lnTo>
                      <a:cubicBezTo>
                        <a:pt x="80963" y="35243"/>
                        <a:pt x="100013" y="22860"/>
                        <a:pt x="120015" y="13335"/>
                      </a:cubicBezTo>
                      <a:cubicBezTo>
                        <a:pt x="140017" y="4763"/>
                        <a:pt x="161925" y="0"/>
                        <a:pt x="184785" y="0"/>
                      </a:cubicBezTo>
                      <a:cubicBezTo>
                        <a:pt x="239077" y="0"/>
                        <a:pt x="283845" y="18098"/>
                        <a:pt x="319088" y="53340"/>
                      </a:cubicBezTo>
                      <a:cubicBezTo>
                        <a:pt x="354330" y="89535"/>
                        <a:pt x="372427" y="134303"/>
                        <a:pt x="372427" y="188595"/>
                      </a:cubicBezTo>
                      <a:cubicBezTo>
                        <a:pt x="372427" y="242888"/>
                        <a:pt x="367665" y="237173"/>
                        <a:pt x="359092" y="260033"/>
                      </a:cubicBezTo>
                      <a:cubicBezTo>
                        <a:pt x="350520" y="282893"/>
                        <a:pt x="337185" y="302895"/>
                        <a:pt x="320992" y="320040"/>
                      </a:cubicBezTo>
                      <a:cubicBezTo>
                        <a:pt x="302895" y="339090"/>
                        <a:pt x="282892" y="352425"/>
                        <a:pt x="261938" y="361950"/>
                      </a:cubicBezTo>
                      <a:cubicBezTo>
                        <a:pt x="240982" y="370523"/>
                        <a:pt x="216217" y="375285"/>
                        <a:pt x="188595" y="375285"/>
                      </a:cubicBezTo>
                      <a:cubicBezTo>
                        <a:pt x="160972" y="375285"/>
                        <a:pt x="141922" y="370523"/>
                        <a:pt x="120967" y="361950"/>
                      </a:cubicBezTo>
                      <a:cubicBezTo>
                        <a:pt x="100013" y="353378"/>
                        <a:pt x="80963" y="340043"/>
                        <a:pt x="63817" y="321945"/>
                      </a:cubicBezTo>
                      <a:close/>
                      <a:moveTo>
                        <a:pt x="62865" y="184785"/>
                      </a:moveTo>
                      <a:cubicBezTo>
                        <a:pt x="62865" y="220028"/>
                        <a:pt x="74295" y="250508"/>
                        <a:pt x="98107" y="275273"/>
                      </a:cubicBezTo>
                      <a:cubicBezTo>
                        <a:pt x="121920" y="300038"/>
                        <a:pt x="150495" y="312420"/>
                        <a:pt x="182880" y="312420"/>
                      </a:cubicBezTo>
                      <a:cubicBezTo>
                        <a:pt x="215265" y="312420"/>
                        <a:pt x="245745" y="300038"/>
                        <a:pt x="269557" y="276225"/>
                      </a:cubicBezTo>
                      <a:cubicBezTo>
                        <a:pt x="293370" y="252413"/>
                        <a:pt x="305752" y="222885"/>
                        <a:pt x="305752" y="188595"/>
                      </a:cubicBezTo>
                      <a:cubicBezTo>
                        <a:pt x="305752" y="154305"/>
                        <a:pt x="293370" y="121920"/>
                        <a:pt x="269557" y="97155"/>
                      </a:cubicBezTo>
                      <a:cubicBezTo>
                        <a:pt x="245745" y="72390"/>
                        <a:pt x="216217" y="60008"/>
                        <a:pt x="181927" y="60008"/>
                      </a:cubicBezTo>
                      <a:cubicBezTo>
                        <a:pt x="147638" y="60008"/>
                        <a:pt x="121920" y="72390"/>
                        <a:pt x="98107" y="97155"/>
                      </a:cubicBezTo>
                      <a:cubicBezTo>
                        <a:pt x="74295" y="121920"/>
                        <a:pt x="61913" y="150495"/>
                        <a:pt x="61913" y="183833"/>
                      </a:cubicBezTo>
                      <a:close/>
                    </a:path>
                  </a:pathLst>
                </a:custGeom>
                <a:solidFill>
                  <a:srgbClr val="1D1D1B"/>
                </a:solidFill>
                <a:ln w="0"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78EF61E6-2BF8-D26B-6B5D-715DAE7C6DF1}"/>
                    </a:ext>
                  </a:extLst>
                </p:cNvPr>
                <p:cNvSpPr/>
                <p:nvPr/>
              </p:nvSpPr>
              <p:spPr>
                <a:xfrm>
                  <a:off x="5860372" y="8481561"/>
                  <a:ext cx="372427" cy="499109"/>
                </a:xfrm>
                <a:custGeom>
                  <a:avLst/>
                  <a:gdLst>
                    <a:gd name="connsiteX0" fmla="*/ 307658 w 372427"/>
                    <a:gd name="connsiteY0" fmla="*/ 490538 h 499109"/>
                    <a:gd name="connsiteX1" fmla="*/ 307658 w 372427"/>
                    <a:gd name="connsiteY1" fmla="*/ 446722 h 499109"/>
                    <a:gd name="connsiteX2" fmla="*/ 252413 w 372427"/>
                    <a:gd name="connsiteY2" fmla="*/ 485775 h 499109"/>
                    <a:gd name="connsiteX3" fmla="*/ 187643 w 372427"/>
                    <a:gd name="connsiteY3" fmla="*/ 499110 h 499109"/>
                    <a:gd name="connsiteX4" fmla="*/ 53340 w 372427"/>
                    <a:gd name="connsiteY4" fmla="*/ 444817 h 499109"/>
                    <a:gd name="connsiteX5" fmla="*/ 0 w 372427"/>
                    <a:gd name="connsiteY5" fmla="*/ 309563 h 499109"/>
                    <a:gd name="connsiteX6" fmla="*/ 13335 w 372427"/>
                    <a:gd name="connsiteY6" fmla="*/ 238125 h 499109"/>
                    <a:gd name="connsiteX7" fmla="*/ 51435 w 372427"/>
                    <a:gd name="connsiteY7" fmla="*/ 178117 h 499109"/>
                    <a:gd name="connsiteX8" fmla="*/ 110490 w 372427"/>
                    <a:gd name="connsiteY8" fmla="*/ 136207 h 499109"/>
                    <a:gd name="connsiteX9" fmla="*/ 183833 w 372427"/>
                    <a:gd name="connsiteY9" fmla="*/ 122872 h 499109"/>
                    <a:gd name="connsiteX10" fmla="*/ 251460 w 372427"/>
                    <a:gd name="connsiteY10" fmla="*/ 136207 h 499109"/>
                    <a:gd name="connsiteX11" fmla="*/ 307658 w 372427"/>
                    <a:gd name="connsiteY11" fmla="*/ 175260 h 499109"/>
                    <a:gd name="connsiteX12" fmla="*/ 307658 w 372427"/>
                    <a:gd name="connsiteY12" fmla="*/ 131445 h 499109"/>
                    <a:gd name="connsiteX13" fmla="*/ 372428 w 372427"/>
                    <a:gd name="connsiteY13" fmla="*/ 131445 h 499109"/>
                    <a:gd name="connsiteX14" fmla="*/ 372428 w 372427"/>
                    <a:gd name="connsiteY14" fmla="*/ 489585 h 499109"/>
                    <a:gd name="connsiteX15" fmla="*/ 307658 w 372427"/>
                    <a:gd name="connsiteY15" fmla="*/ 489585 h 499109"/>
                    <a:gd name="connsiteX16" fmla="*/ 66675 w 372427"/>
                    <a:gd name="connsiteY16" fmla="*/ 309563 h 499109"/>
                    <a:gd name="connsiteX17" fmla="*/ 102870 w 372427"/>
                    <a:gd name="connsiteY17" fmla="*/ 401002 h 499109"/>
                    <a:gd name="connsiteX18" fmla="*/ 191453 w 372427"/>
                    <a:gd name="connsiteY18" fmla="*/ 438150 h 499109"/>
                    <a:gd name="connsiteX19" fmla="*/ 275273 w 372427"/>
                    <a:gd name="connsiteY19" fmla="*/ 401002 h 499109"/>
                    <a:gd name="connsiteX20" fmla="*/ 311468 w 372427"/>
                    <a:gd name="connsiteY20" fmla="*/ 314325 h 499109"/>
                    <a:gd name="connsiteX21" fmla="*/ 275273 w 372427"/>
                    <a:gd name="connsiteY21" fmla="*/ 223838 h 499109"/>
                    <a:gd name="connsiteX22" fmla="*/ 189548 w 372427"/>
                    <a:gd name="connsiteY22" fmla="*/ 185738 h 499109"/>
                    <a:gd name="connsiteX23" fmla="*/ 102870 w 372427"/>
                    <a:gd name="connsiteY23" fmla="*/ 221932 h 499109"/>
                    <a:gd name="connsiteX24" fmla="*/ 66675 w 372427"/>
                    <a:gd name="connsiteY24" fmla="*/ 309563 h 499109"/>
                    <a:gd name="connsiteX25" fmla="*/ 123825 w 372427"/>
                    <a:gd name="connsiteY25" fmla="*/ 67627 h 499109"/>
                    <a:gd name="connsiteX26" fmla="*/ 123825 w 372427"/>
                    <a:gd name="connsiteY26" fmla="*/ 0 h 499109"/>
                    <a:gd name="connsiteX27" fmla="*/ 183833 w 372427"/>
                    <a:gd name="connsiteY27" fmla="*/ 0 h 499109"/>
                    <a:gd name="connsiteX28" fmla="*/ 183833 w 372427"/>
                    <a:gd name="connsiteY28" fmla="*/ 67627 h 499109"/>
                    <a:gd name="connsiteX29" fmla="*/ 123825 w 372427"/>
                    <a:gd name="connsiteY29" fmla="*/ 67627 h 499109"/>
                    <a:gd name="connsiteX30" fmla="*/ 239078 w 372427"/>
                    <a:gd name="connsiteY30" fmla="*/ 67627 h 499109"/>
                    <a:gd name="connsiteX31" fmla="*/ 239078 w 372427"/>
                    <a:gd name="connsiteY31" fmla="*/ 0 h 499109"/>
                    <a:gd name="connsiteX32" fmla="*/ 299085 w 372427"/>
                    <a:gd name="connsiteY32" fmla="*/ 0 h 499109"/>
                    <a:gd name="connsiteX33" fmla="*/ 299085 w 372427"/>
                    <a:gd name="connsiteY33" fmla="*/ 67627 h 499109"/>
                    <a:gd name="connsiteX34" fmla="*/ 239078 w 372427"/>
                    <a:gd name="connsiteY34" fmla="*/ 67627 h 49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72427" h="499109">
                      <a:moveTo>
                        <a:pt x="307658" y="490538"/>
                      </a:moveTo>
                      <a:lnTo>
                        <a:pt x="307658" y="446722"/>
                      </a:lnTo>
                      <a:cubicBezTo>
                        <a:pt x="291465" y="463867"/>
                        <a:pt x="272415" y="477202"/>
                        <a:pt x="252413" y="485775"/>
                      </a:cubicBezTo>
                      <a:cubicBezTo>
                        <a:pt x="232410" y="494347"/>
                        <a:pt x="210503" y="499110"/>
                        <a:pt x="187643" y="499110"/>
                      </a:cubicBezTo>
                      <a:cubicBezTo>
                        <a:pt x="134303" y="499110"/>
                        <a:pt x="89535" y="481013"/>
                        <a:pt x="53340" y="444817"/>
                      </a:cubicBezTo>
                      <a:cubicBezTo>
                        <a:pt x="18098" y="408622"/>
                        <a:pt x="0" y="363855"/>
                        <a:pt x="0" y="309563"/>
                      </a:cubicBezTo>
                      <a:cubicBezTo>
                        <a:pt x="0" y="255270"/>
                        <a:pt x="4763" y="260985"/>
                        <a:pt x="13335" y="238125"/>
                      </a:cubicBezTo>
                      <a:cubicBezTo>
                        <a:pt x="21908" y="215265"/>
                        <a:pt x="35243" y="195263"/>
                        <a:pt x="51435" y="178117"/>
                      </a:cubicBezTo>
                      <a:cubicBezTo>
                        <a:pt x="69533" y="159067"/>
                        <a:pt x="89535" y="145732"/>
                        <a:pt x="110490" y="136207"/>
                      </a:cubicBezTo>
                      <a:cubicBezTo>
                        <a:pt x="131445" y="127635"/>
                        <a:pt x="156210" y="122872"/>
                        <a:pt x="183833" y="122872"/>
                      </a:cubicBezTo>
                      <a:cubicBezTo>
                        <a:pt x="211455" y="122872"/>
                        <a:pt x="230505" y="127635"/>
                        <a:pt x="251460" y="136207"/>
                      </a:cubicBezTo>
                      <a:cubicBezTo>
                        <a:pt x="272415" y="144780"/>
                        <a:pt x="290513" y="158115"/>
                        <a:pt x="307658" y="175260"/>
                      </a:cubicBezTo>
                      <a:lnTo>
                        <a:pt x="307658" y="131445"/>
                      </a:lnTo>
                      <a:lnTo>
                        <a:pt x="372428" y="131445"/>
                      </a:lnTo>
                      <a:lnTo>
                        <a:pt x="372428" y="489585"/>
                      </a:lnTo>
                      <a:lnTo>
                        <a:pt x="307658" y="489585"/>
                      </a:lnTo>
                      <a:close/>
                      <a:moveTo>
                        <a:pt x="66675" y="309563"/>
                      </a:moveTo>
                      <a:cubicBezTo>
                        <a:pt x="66675" y="345757"/>
                        <a:pt x="79058" y="376238"/>
                        <a:pt x="102870" y="401002"/>
                      </a:cubicBezTo>
                      <a:cubicBezTo>
                        <a:pt x="126683" y="425767"/>
                        <a:pt x="156210" y="438150"/>
                        <a:pt x="191453" y="438150"/>
                      </a:cubicBezTo>
                      <a:cubicBezTo>
                        <a:pt x="226695" y="438150"/>
                        <a:pt x="251460" y="425767"/>
                        <a:pt x="275273" y="401002"/>
                      </a:cubicBezTo>
                      <a:cubicBezTo>
                        <a:pt x="299085" y="376238"/>
                        <a:pt x="311468" y="347663"/>
                        <a:pt x="311468" y="314325"/>
                      </a:cubicBezTo>
                      <a:cubicBezTo>
                        <a:pt x="311468" y="280988"/>
                        <a:pt x="299085" y="248602"/>
                        <a:pt x="275273" y="223838"/>
                      </a:cubicBezTo>
                      <a:cubicBezTo>
                        <a:pt x="251460" y="199072"/>
                        <a:pt x="222885" y="185738"/>
                        <a:pt x="189548" y="185738"/>
                      </a:cubicBezTo>
                      <a:cubicBezTo>
                        <a:pt x="156210" y="185738"/>
                        <a:pt x="126683" y="198120"/>
                        <a:pt x="102870" y="221932"/>
                      </a:cubicBezTo>
                      <a:cubicBezTo>
                        <a:pt x="79058" y="245745"/>
                        <a:pt x="66675" y="275272"/>
                        <a:pt x="66675" y="309563"/>
                      </a:cubicBezTo>
                      <a:close/>
                      <a:moveTo>
                        <a:pt x="123825" y="67627"/>
                      </a:moveTo>
                      <a:lnTo>
                        <a:pt x="123825" y="0"/>
                      </a:lnTo>
                      <a:lnTo>
                        <a:pt x="183833" y="0"/>
                      </a:lnTo>
                      <a:lnTo>
                        <a:pt x="183833" y="67627"/>
                      </a:lnTo>
                      <a:lnTo>
                        <a:pt x="123825" y="67627"/>
                      </a:lnTo>
                      <a:close/>
                      <a:moveTo>
                        <a:pt x="239078" y="67627"/>
                      </a:moveTo>
                      <a:lnTo>
                        <a:pt x="239078" y="0"/>
                      </a:lnTo>
                      <a:lnTo>
                        <a:pt x="299085" y="0"/>
                      </a:lnTo>
                      <a:lnTo>
                        <a:pt x="299085" y="67627"/>
                      </a:lnTo>
                      <a:lnTo>
                        <a:pt x="239078" y="67627"/>
                      </a:lnTo>
                      <a:close/>
                    </a:path>
                  </a:pathLst>
                </a:custGeom>
                <a:solidFill>
                  <a:srgbClr val="1D1D1B"/>
                </a:solidFill>
                <a:ln w="0"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A6195DA3-9E7C-AD4A-475E-6CDD3E0CD44D}"/>
                    </a:ext>
                  </a:extLst>
                </p:cNvPr>
                <p:cNvSpPr/>
                <p:nvPr/>
              </p:nvSpPr>
              <p:spPr>
                <a:xfrm>
                  <a:off x="6329955" y="8497753"/>
                  <a:ext cx="373379" cy="482917"/>
                </a:xfrm>
                <a:custGeom>
                  <a:avLst/>
                  <a:gdLst>
                    <a:gd name="connsiteX0" fmla="*/ 307657 w 373379"/>
                    <a:gd name="connsiteY0" fmla="*/ 474345 h 482917"/>
                    <a:gd name="connsiteX1" fmla="*/ 307657 w 373379"/>
                    <a:gd name="connsiteY1" fmla="*/ 430530 h 482917"/>
                    <a:gd name="connsiteX2" fmla="*/ 252413 w 373379"/>
                    <a:gd name="connsiteY2" fmla="*/ 469583 h 482917"/>
                    <a:gd name="connsiteX3" fmla="*/ 187642 w 373379"/>
                    <a:gd name="connsiteY3" fmla="*/ 482918 h 482917"/>
                    <a:gd name="connsiteX4" fmla="*/ 53340 w 373379"/>
                    <a:gd name="connsiteY4" fmla="*/ 428625 h 482917"/>
                    <a:gd name="connsiteX5" fmla="*/ 0 w 373379"/>
                    <a:gd name="connsiteY5" fmla="*/ 293370 h 482917"/>
                    <a:gd name="connsiteX6" fmla="*/ 13335 w 373379"/>
                    <a:gd name="connsiteY6" fmla="*/ 221933 h 482917"/>
                    <a:gd name="connsiteX7" fmla="*/ 51435 w 373379"/>
                    <a:gd name="connsiteY7" fmla="*/ 161925 h 482917"/>
                    <a:gd name="connsiteX8" fmla="*/ 110490 w 373379"/>
                    <a:gd name="connsiteY8" fmla="*/ 120015 h 482917"/>
                    <a:gd name="connsiteX9" fmla="*/ 183832 w 373379"/>
                    <a:gd name="connsiteY9" fmla="*/ 106680 h 482917"/>
                    <a:gd name="connsiteX10" fmla="*/ 251460 w 373379"/>
                    <a:gd name="connsiteY10" fmla="*/ 120015 h 482917"/>
                    <a:gd name="connsiteX11" fmla="*/ 308610 w 373379"/>
                    <a:gd name="connsiteY11" fmla="*/ 159068 h 482917"/>
                    <a:gd name="connsiteX12" fmla="*/ 308610 w 373379"/>
                    <a:gd name="connsiteY12" fmla="*/ 0 h 482917"/>
                    <a:gd name="connsiteX13" fmla="*/ 373380 w 373379"/>
                    <a:gd name="connsiteY13" fmla="*/ 0 h 482917"/>
                    <a:gd name="connsiteX14" fmla="*/ 373380 w 373379"/>
                    <a:gd name="connsiteY14" fmla="*/ 474345 h 482917"/>
                    <a:gd name="connsiteX15" fmla="*/ 308610 w 373379"/>
                    <a:gd name="connsiteY15" fmla="*/ 474345 h 482917"/>
                    <a:gd name="connsiteX16" fmla="*/ 66675 w 373379"/>
                    <a:gd name="connsiteY16" fmla="*/ 293370 h 482917"/>
                    <a:gd name="connsiteX17" fmla="*/ 102870 w 373379"/>
                    <a:gd name="connsiteY17" fmla="*/ 384810 h 482917"/>
                    <a:gd name="connsiteX18" fmla="*/ 191453 w 373379"/>
                    <a:gd name="connsiteY18" fmla="*/ 421958 h 482917"/>
                    <a:gd name="connsiteX19" fmla="*/ 275272 w 373379"/>
                    <a:gd name="connsiteY19" fmla="*/ 384810 h 482917"/>
                    <a:gd name="connsiteX20" fmla="*/ 311467 w 373379"/>
                    <a:gd name="connsiteY20" fmla="*/ 298133 h 482917"/>
                    <a:gd name="connsiteX21" fmla="*/ 275272 w 373379"/>
                    <a:gd name="connsiteY21" fmla="*/ 207645 h 482917"/>
                    <a:gd name="connsiteX22" fmla="*/ 189547 w 373379"/>
                    <a:gd name="connsiteY22" fmla="*/ 169545 h 482917"/>
                    <a:gd name="connsiteX23" fmla="*/ 102870 w 373379"/>
                    <a:gd name="connsiteY23" fmla="*/ 205740 h 482917"/>
                    <a:gd name="connsiteX24" fmla="*/ 66675 w 373379"/>
                    <a:gd name="connsiteY24" fmla="*/ 293370 h 48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3379" h="482917">
                      <a:moveTo>
                        <a:pt x="307657" y="474345"/>
                      </a:moveTo>
                      <a:lnTo>
                        <a:pt x="307657" y="430530"/>
                      </a:lnTo>
                      <a:cubicBezTo>
                        <a:pt x="291465" y="447675"/>
                        <a:pt x="272415" y="461010"/>
                        <a:pt x="252413" y="469583"/>
                      </a:cubicBezTo>
                      <a:cubicBezTo>
                        <a:pt x="232410" y="478155"/>
                        <a:pt x="210503" y="482918"/>
                        <a:pt x="187642" y="482918"/>
                      </a:cubicBezTo>
                      <a:cubicBezTo>
                        <a:pt x="133350" y="482918"/>
                        <a:pt x="88582" y="464820"/>
                        <a:pt x="53340" y="428625"/>
                      </a:cubicBezTo>
                      <a:cubicBezTo>
                        <a:pt x="18097" y="392430"/>
                        <a:pt x="0" y="347663"/>
                        <a:pt x="0" y="293370"/>
                      </a:cubicBezTo>
                      <a:cubicBezTo>
                        <a:pt x="0" y="239078"/>
                        <a:pt x="4763" y="244793"/>
                        <a:pt x="13335" y="221933"/>
                      </a:cubicBezTo>
                      <a:cubicBezTo>
                        <a:pt x="21907" y="199072"/>
                        <a:pt x="35242" y="179070"/>
                        <a:pt x="51435" y="161925"/>
                      </a:cubicBezTo>
                      <a:cubicBezTo>
                        <a:pt x="69532" y="142875"/>
                        <a:pt x="89535" y="129540"/>
                        <a:pt x="110490" y="120015"/>
                      </a:cubicBezTo>
                      <a:cubicBezTo>
                        <a:pt x="131445" y="111443"/>
                        <a:pt x="156210" y="106680"/>
                        <a:pt x="183832" y="106680"/>
                      </a:cubicBezTo>
                      <a:cubicBezTo>
                        <a:pt x="211455" y="106680"/>
                        <a:pt x="230505" y="111443"/>
                        <a:pt x="251460" y="120015"/>
                      </a:cubicBezTo>
                      <a:cubicBezTo>
                        <a:pt x="272415" y="128588"/>
                        <a:pt x="291465" y="141922"/>
                        <a:pt x="308610" y="159068"/>
                      </a:cubicBezTo>
                      <a:lnTo>
                        <a:pt x="308610" y="0"/>
                      </a:lnTo>
                      <a:lnTo>
                        <a:pt x="373380" y="0"/>
                      </a:lnTo>
                      <a:lnTo>
                        <a:pt x="373380" y="474345"/>
                      </a:lnTo>
                      <a:lnTo>
                        <a:pt x="308610" y="474345"/>
                      </a:lnTo>
                      <a:close/>
                      <a:moveTo>
                        <a:pt x="66675" y="293370"/>
                      </a:moveTo>
                      <a:cubicBezTo>
                        <a:pt x="66675" y="329565"/>
                        <a:pt x="79057" y="360045"/>
                        <a:pt x="102870" y="384810"/>
                      </a:cubicBezTo>
                      <a:cubicBezTo>
                        <a:pt x="126682" y="409575"/>
                        <a:pt x="156210" y="421958"/>
                        <a:pt x="191453" y="421958"/>
                      </a:cubicBezTo>
                      <a:cubicBezTo>
                        <a:pt x="226695" y="421958"/>
                        <a:pt x="251460" y="409575"/>
                        <a:pt x="275272" y="384810"/>
                      </a:cubicBezTo>
                      <a:cubicBezTo>
                        <a:pt x="299085" y="360045"/>
                        <a:pt x="311467" y="331470"/>
                        <a:pt x="311467" y="298133"/>
                      </a:cubicBezTo>
                      <a:cubicBezTo>
                        <a:pt x="311467" y="264795"/>
                        <a:pt x="299085" y="232410"/>
                        <a:pt x="275272" y="207645"/>
                      </a:cubicBezTo>
                      <a:cubicBezTo>
                        <a:pt x="251460" y="182880"/>
                        <a:pt x="222885" y="169545"/>
                        <a:pt x="189547" y="169545"/>
                      </a:cubicBezTo>
                      <a:cubicBezTo>
                        <a:pt x="156210" y="169545"/>
                        <a:pt x="126682" y="181928"/>
                        <a:pt x="102870" y="205740"/>
                      </a:cubicBezTo>
                      <a:cubicBezTo>
                        <a:pt x="79057" y="229553"/>
                        <a:pt x="66675" y="259080"/>
                        <a:pt x="66675" y="293370"/>
                      </a:cubicBezTo>
                      <a:close/>
                    </a:path>
                  </a:pathLst>
                </a:custGeom>
                <a:solidFill>
                  <a:srgbClr val="1D1D1B"/>
                </a:solidFill>
                <a:ln w="0"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247F561E-6CD5-AAC2-E58E-BD0248CEB41B}"/>
                    </a:ext>
                  </a:extLst>
                </p:cNvPr>
                <p:cNvSpPr/>
                <p:nvPr/>
              </p:nvSpPr>
              <p:spPr>
                <a:xfrm>
                  <a:off x="6799537" y="8604434"/>
                  <a:ext cx="372427" cy="376237"/>
                </a:xfrm>
                <a:custGeom>
                  <a:avLst/>
                  <a:gdLst>
                    <a:gd name="connsiteX0" fmla="*/ 307658 w 372427"/>
                    <a:gd name="connsiteY0" fmla="*/ 367665 h 376237"/>
                    <a:gd name="connsiteX1" fmla="*/ 307658 w 372427"/>
                    <a:gd name="connsiteY1" fmla="*/ 323850 h 376237"/>
                    <a:gd name="connsiteX2" fmla="*/ 252413 w 372427"/>
                    <a:gd name="connsiteY2" fmla="*/ 362903 h 376237"/>
                    <a:gd name="connsiteX3" fmla="*/ 187642 w 372427"/>
                    <a:gd name="connsiteY3" fmla="*/ 376238 h 376237"/>
                    <a:gd name="connsiteX4" fmla="*/ 53340 w 372427"/>
                    <a:gd name="connsiteY4" fmla="*/ 321945 h 376237"/>
                    <a:gd name="connsiteX5" fmla="*/ 0 w 372427"/>
                    <a:gd name="connsiteY5" fmla="*/ 186690 h 376237"/>
                    <a:gd name="connsiteX6" fmla="*/ 13335 w 372427"/>
                    <a:gd name="connsiteY6" fmla="*/ 115253 h 376237"/>
                    <a:gd name="connsiteX7" fmla="*/ 51435 w 372427"/>
                    <a:gd name="connsiteY7" fmla="*/ 55245 h 376237"/>
                    <a:gd name="connsiteX8" fmla="*/ 110490 w 372427"/>
                    <a:gd name="connsiteY8" fmla="*/ 13335 h 376237"/>
                    <a:gd name="connsiteX9" fmla="*/ 183833 w 372427"/>
                    <a:gd name="connsiteY9" fmla="*/ 0 h 376237"/>
                    <a:gd name="connsiteX10" fmla="*/ 251460 w 372427"/>
                    <a:gd name="connsiteY10" fmla="*/ 13335 h 376237"/>
                    <a:gd name="connsiteX11" fmla="*/ 307658 w 372427"/>
                    <a:gd name="connsiteY11" fmla="*/ 52388 h 376237"/>
                    <a:gd name="connsiteX12" fmla="*/ 307658 w 372427"/>
                    <a:gd name="connsiteY12" fmla="*/ 8572 h 376237"/>
                    <a:gd name="connsiteX13" fmla="*/ 372428 w 372427"/>
                    <a:gd name="connsiteY13" fmla="*/ 8572 h 376237"/>
                    <a:gd name="connsiteX14" fmla="*/ 372428 w 372427"/>
                    <a:gd name="connsiteY14" fmla="*/ 366713 h 376237"/>
                    <a:gd name="connsiteX15" fmla="*/ 307658 w 372427"/>
                    <a:gd name="connsiteY15" fmla="*/ 366713 h 376237"/>
                    <a:gd name="connsiteX16" fmla="*/ 66675 w 372427"/>
                    <a:gd name="connsiteY16" fmla="*/ 186690 h 376237"/>
                    <a:gd name="connsiteX17" fmla="*/ 102870 w 372427"/>
                    <a:gd name="connsiteY17" fmla="*/ 278130 h 376237"/>
                    <a:gd name="connsiteX18" fmla="*/ 191453 w 372427"/>
                    <a:gd name="connsiteY18" fmla="*/ 315278 h 376237"/>
                    <a:gd name="connsiteX19" fmla="*/ 275272 w 372427"/>
                    <a:gd name="connsiteY19" fmla="*/ 278130 h 376237"/>
                    <a:gd name="connsiteX20" fmla="*/ 311467 w 372427"/>
                    <a:gd name="connsiteY20" fmla="*/ 191453 h 376237"/>
                    <a:gd name="connsiteX21" fmla="*/ 275272 w 372427"/>
                    <a:gd name="connsiteY21" fmla="*/ 100965 h 376237"/>
                    <a:gd name="connsiteX22" fmla="*/ 189547 w 372427"/>
                    <a:gd name="connsiteY22" fmla="*/ 62865 h 376237"/>
                    <a:gd name="connsiteX23" fmla="*/ 102870 w 372427"/>
                    <a:gd name="connsiteY23" fmla="*/ 99060 h 376237"/>
                    <a:gd name="connsiteX24" fmla="*/ 66675 w 372427"/>
                    <a:gd name="connsiteY24" fmla="*/ 186690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2427" h="376237">
                      <a:moveTo>
                        <a:pt x="307658" y="367665"/>
                      </a:moveTo>
                      <a:lnTo>
                        <a:pt x="307658" y="323850"/>
                      </a:lnTo>
                      <a:cubicBezTo>
                        <a:pt x="291465" y="340995"/>
                        <a:pt x="272415" y="354330"/>
                        <a:pt x="252413" y="362903"/>
                      </a:cubicBezTo>
                      <a:cubicBezTo>
                        <a:pt x="232410" y="371475"/>
                        <a:pt x="210503" y="376238"/>
                        <a:pt x="187642" y="376238"/>
                      </a:cubicBezTo>
                      <a:cubicBezTo>
                        <a:pt x="133350" y="376238"/>
                        <a:pt x="88583" y="358140"/>
                        <a:pt x="53340" y="321945"/>
                      </a:cubicBezTo>
                      <a:cubicBezTo>
                        <a:pt x="18097" y="285750"/>
                        <a:pt x="0" y="240982"/>
                        <a:pt x="0" y="186690"/>
                      </a:cubicBezTo>
                      <a:cubicBezTo>
                        <a:pt x="0" y="132397"/>
                        <a:pt x="4763" y="138113"/>
                        <a:pt x="13335" y="115253"/>
                      </a:cubicBezTo>
                      <a:cubicBezTo>
                        <a:pt x="21908" y="92392"/>
                        <a:pt x="35243" y="72390"/>
                        <a:pt x="51435" y="55245"/>
                      </a:cubicBezTo>
                      <a:cubicBezTo>
                        <a:pt x="69533" y="36195"/>
                        <a:pt x="89535" y="22860"/>
                        <a:pt x="110490" y="13335"/>
                      </a:cubicBezTo>
                      <a:cubicBezTo>
                        <a:pt x="131445" y="4763"/>
                        <a:pt x="156210" y="0"/>
                        <a:pt x="183833" y="0"/>
                      </a:cubicBezTo>
                      <a:cubicBezTo>
                        <a:pt x="211455" y="0"/>
                        <a:pt x="230505" y="4763"/>
                        <a:pt x="251460" y="13335"/>
                      </a:cubicBezTo>
                      <a:cubicBezTo>
                        <a:pt x="272415" y="21907"/>
                        <a:pt x="290513" y="35242"/>
                        <a:pt x="307658" y="52388"/>
                      </a:cubicBezTo>
                      <a:lnTo>
                        <a:pt x="307658" y="8572"/>
                      </a:lnTo>
                      <a:lnTo>
                        <a:pt x="372428" y="8572"/>
                      </a:lnTo>
                      <a:lnTo>
                        <a:pt x="372428" y="366713"/>
                      </a:lnTo>
                      <a:lnTo>
                        <a:pt x="307658" y="366713"/>
                      </a:lnTo>
                      <a:close/>
                      <a:moveTo>
                        <a:pt x="66675" y="186690"/>
                      </a:moveTo>
                      <a:cubicBezTo>
                        <a:pt x="66675" y="222885"/>
                        <a:pt x="79058" y="253365"/>
                        <a:pt x="102870" y="278130"/>
                      </a:cubicBezTo>
                      <a:cubicBezTo>
                        <a:pt x="126683" y="302895"/>
                        <a:pt x="156210" y="315278"/>
                        <a:pt x="191453" y="315278"/>
                      </a:cubicBezTo>
                      <a:cubicBezTo>
                        <a:pt x="226695" y="315278"/>
                        <a:pt x="251460" y="302895"/>
                        <a:pt x="275272" y="278130"/>
                      </a:cubicBezTo>
                      <a:cubicBezTo>
                        <a:pt x="299085" y="253365"/>
                        <a:pt x="311467" y="224790"/>
                        <a:pt x="311467" y="191453"/>
                      </a:cubicBezTo>
                      <a:cubicBezTo>
                        <a:pt x="311467" y="158115"/>
                        <a:pt x="299085" y="125730"/>
                        <a:pt x="275272" y="100965"/>
                      </a:cubicBezTo>
                      <a:cubicBezTo>
                        <a:pt x="251460" y="76200"/>
                        <a:pt x="222885" y="62865"/>
                        <a:pt x="189547" y="62865"/>
                      </a:cubicBezTo>
                      <a:cubicBezTo>
                        <a:pt x="156210" y="62865"/>
                        <a:pt x="126683" y="75247"/>
                        <a:pt x="102870" y="99060"/>
                      </a:cubicBezTo>
                      <a:cubicBezTo>
                        <a:pt x="79058" y="122872"/>
                        <a:pt x="66675" y="152400"/>
                        <a:pt x="66675" y="186690"/>
                      </a:cubicBezTo>
                      <a:close/>
                    </a:path>
                  </a:pathLst>
                </a:custGeom>
                <a:solidFill>
                  <a:srgbClr val="1D1D1B"/>
                </a:solidFill>
                <a:ln w="0"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E2E01EE2-8DFC-E322-16F5-B23D7598DE2A}"/>
                    </a:ext>
                  </a:extLst>
                </p:cNvPr>
                <p:cNvSpPr/>
                <p:nvPr/>
              </p:nvSpPr>
              <p:spPr>
                <a:xfrm>
                  <a:off x="7268167" y="8604434"/>
                  <a:ext cx="373380" cy="505777"/>
                </a:xfrm>
                <a:custGeom>
                  <a:avLst/>
                  <a:gdLst>
                    <a:gd name="connsiteX0" fmla="*/ 23813 w 373380"/>
                    <a:gd name="connsiteY0" fmla="*/ 396240 h 505777"/>
                    <a:gd name="connsiteX1" fmla="*/ 92393 w 373380"/>
                    <a:gd name="connsiteY1" fmla="*/ 396240 h 505777"/>
                    <a:gd name="connsiteX2" fmla="*/ 131445 w 373380"/>
                    <a:gd name="connsiteY2" fmla="*/ 434340 h 505777"/>
                    <a:gd name="connsiteX3" fmla="*/ 186690 w 373380"/>
                    <a:gd name="connsiteY3" fmla="*/ 447675 h 505777"/>
                    <a:gd name="connsiteX4" fmla="*/ 274320 w 373380"/>
                    <a:gd name="connsiteY4" fmla="*/ 415290 h 505777"/>
                    <a:gd name="connsiteX5" fmla="*/ 307658 w 373380"/>
                    <a:gd name="connsiteY5" fmla="*/ 328613 h 505777"/>
                    <a:gd name="connsiteX6" fmla="*/ 307658 w 373380"/>
                    <a:gd name="connsiteY6" fmla="*/ 323850 h 505777"/>
                    <a:gd name="connsiteX7" fmla="*/ 252413 w 373380"/>
                    <a:gd name="connsiteY7" fmla="*/ 362903 h 505777"/>
                    <a:gd name="connsiteX8" fmla="*/ 187643 w 373380"/>
                    <a:gd name="connsiteY8" fmla="*/ 376238 h 505777"/>
                    <a:gd name="connsiteX9" fmla="*/ 53340 w 373380"/>
                    <a:gd name="connsiteY9" fmla="*/ 321945 h 505777"/>
                    <a:gd name="connsiteX10" fmla="*/ 0 w 373380"/>
                    <a:gd name="connsiteY10" fmla="*/ 186690 h 505777"/>
                    <a:gd name="connsiteX11" fmla="*/ 13335 w 373380"/>
                    <a:gd name="connsiteY11" fmla="*/ 115253 h 505777"/>
                    <a:gd name="connsiteX12" fmla="*/ 51435 w 373380"/>
                    <a:gd name="connsiteY12" fmla="*/ 55245 h 505777"/>
                    <a:gd name="connsiteX13" fmla="*/ 110490 w 373380"/>
                    <a:gd name="connsiteY13" fmla="*/ 13335 h 505777"/>
                    <a:gd name="connsiteX14" fmla="*/ 183833 w 373380"/>
                    <a:gd name="connsiteY14" fmla="*/ 0 h 505777"/>
                    <a:gd name="connsiteX15" fmla="*/ 251460 w 373380"/>
                    <a:gd name="connsiteY15" fmla="*/ 13335 h 505777"/>
                    <a:gd name="connsiteX16" fmla="*/ 308610 w 373380"/>
                    <a:gd name="connsiteY16" fmla="*/ 52388 h 505777"/>
                    <a:gd name="connsiteX17" fmla="*/ 308610 w 373380"/>
                    <a:gd name="connsiteY17" fmla="*/ 8572 h 505777"/>
                    <a:gd name="connsiteX18" fmla="*/ 373380 w 373380"/>
                    <a:gd name="connsiteY18" fmla="*/ 8572 h 505777"/>
                    <a:gd name="connsiteX19" fmla="*/ 373380 w 373380"/>
                    <a:gd name="connsiteY19" fmla="*/ 307657 h 505777"/>
                    <a:gd name="connsiteX20" fmla="*/ 324803 w 373380"/>
                    <a:gd name="connsiteY20" fmla="*/ 453390 h 505777"/>
                    <a:gd name="connsiteX21" fmla="*/ 191453 w 373380"/>
                    <a:gd name="connsiteY21" fmla="*/ 505778 h 505777"/>
                    <a:gd name="connsiteX22" fmla="*/ 86678 w 373380"/>
                    <a:gd name="connsiteY22" fmla="*/ 476250 h 505777"/>
                    <a:gd name="connsiteX23" fmla="*/ 24765 w 373380"/>
                    <a:gd name="connsiteY23" fmla="*/ 394335 h 505777"/>
                    <a:gd name="connsiteX24" fmla="*/ 67628 w 373380"/>
                    <a:gd name="connsiteY24" fmla="*/ 186690 h 505777"/>
                    <a:gd name="connsiteX25" fmla="*/ 103823 w 373380"/>
                    <a:gd name="connsiteY25" fmla="*/ 278130 h 505777"/>
                    <a:gd name="connsiteX26" fmla="*/ 192405 w 373380"/>
                    <a:gd name="connsiteY26" fmla="*/ 315278 h 505777"/>
                    <a:gd name="connsiteX27" fmla="*/ 276225 w 373380"/>
                    <a:gd name="connsiteY27" fmla="*/ 278130 h 505777"/>
                    <a:gd name="connsiteX28" fmla="*/ 312420 w 373380"/>
                    <a:gd name="connsiteY28" fmla="*/ 191453 h 505777"/>
                    <a:gd name="connsiteX29" fmla="*/ 276225 w 373380"/>
                    <a:gd name="connsiteY29" fmla="*/ 100965 h 505777"/>
                    <a:gd name="connsiteX30" fmla="*/ 190500 w 373380"/>
                    <a:gd name="connsiteY30" fmla="*/ 62865 h 505777"/>
                    <a:gd name="connsiteX31" fmla="*/ 103823 w 373380"/>
                    <a:gd name="connsiteY31" fmla="*/ 99060 h 505777"/>
                    <a:gd name="connsiteX32" fmla="*/ 67628 w 373380"/>
                    <a:gd name="connsiteY32" fmla="*/ 186690 h 5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73380" h="505777">
                      <a:moveTo>
                        <a:pt x="23813" y="396240"/>
                      </a:moveTo>
                      <a:lnTo>
                        <a:pt x="92393" y="396240"/>
                      </a:lnTo>
                      <a:cubicBezTo>
                        <a:pt x="101918" y="413385"/>
                        <a:pt x="115253" y="425767"/>
                        <a:pt x="131445" y="434340"/>
                      </a:cubicBezTo>
                      <a:cubicBezTo>
                        <a:pt x="147638" y="442913"/>
                        <a:pt x="165735" y="447675"/>
                        <a:pt x="186690" y="447675"/>
                      </a:cubicBezTo>
                      <a:cubicBezTo>
                        <a:pt x="222885" y="447675"/>
                        <a:pt x="252413" y="437197"/>
                        <a:pt x="274320" y="415290"/>
                      </a:cubicBezTo>
                      <a:cubicBezTo>
                        <a:pt x="296228" y="393382"/>
                        <a:pt x="307658" y="364807"/>
                        <a:pt x="307658" y="328613"/>
                      </a:cubicBezTo>
                      <a:lnTo>
                        <a:pt x="307658" y="323850"/>
                      </a:lnTo>
                      <a:cubicBezTo>
                        <a:pt x="291465" y="340995"/>
                        <a:pt x="272415" y="354330"/>
                        <a:pt x="252413" y="362903"/>
                      </a:cubicBezTo>
                      <a:cubicBezTo>
                        <a:pt x="232410" y="371475"/>
                        <a:pt x="210503" y="376238"/>
                        <a:pt x="187643" y="376238"/>
                      </a:cubicBezTo>
                      <a:cubicBezTo>
                        <a:pt x="133350" y="376238"/>
                        <a:pt x="88583" y="358140"/>
                        <a:pt x="53340" y="321945"/>
                      </a:cubicBezTo>
                      <a:cubicBezTo>
                        <a:pt x="18098" y="285750"/>
                        <a:pt x="0" y="240982"/>
                        <a:pt x="0" y="186690"/>
                      </a:cubicBezTo>
                      <a:cubicBezTo>
                        <a:pt x="0" y="132397"/>
                        <a:pt x="4763" y="138113"/>
                        <a:pt x="13335" y="115253"/>
                      </a:cubicBezTo>
                      <a:cubicBezTo>
                        <a:pt x="21908" y="92392"/>
                        <a:pt x="35243" y="72390"/>
                        <a:pt x="51435" y="55245"/>
                      </a:cubicBezTo>
                      <a:cubicBezTo>
                        <a:pt x="69533" y="36195"/>
                        <a:pt x="89535" y="22860"/>
                        <a:pt x="110490" y="13335"/>
                      </a:cubicBezTo>
                      <a:cubicBezTo>
                        <a:pt x="131445" y="4763"/>
                        <a:pt x="156210" y="0"/>
                        <a:pt x="183833" y="0"/>
                      </a:cubicBezTo>
                      <a:cubicBezTo>
                        <a:pt x="211455" y="0"/>
                        <a:pt x="230505" y="4763"/>
                        <a:pt x="251460" y="13335"/>
                      </a:cubicBezTo>
                      <a:cubicBezTo>
                        <a:pt x="272415" y="21907"/>
                        <a:pt x="291465" y="35242"/>
                        <a:pt x="308610" y="52388"/>
                      </a:cubicBezTo>
                      <a:lnTo>
                        <a:pt x="308610" y="8572"/>
                      </a:lnTo>
                      <a:lnTo>
                        <a:pt x="373380" y="8572"/>
                      </a:lnTo>
                      <a:lnTo>
                        <a:pt x="373380" y="307657"/>
                      </a:lnTo>
                      <a:cubicBezTo>
                        <a:pt x="373380" y="369570"/>
                        <a:pt x="357188" y="418147"/>
                        <a:pt x="324803" y="453390"/>
                      </a:cubicBezTo>
                      <a:cubicBezTo>
                        <a:pt x="292418" y="488632"/>
                        <a:pt x="247650" y="505778"/>
                        <a:pt x="191453" y="505778"/>
                      </a:cubicBezTo>
                      <a:cubicBezTo>
                        <a:pt x="135255" y="505778"/>
                        <a:pt x="115253" y="496253"/>
                        <a:pt x="86678" y="476250"/>
                      </a:cubicBezTo>
                      <a:cubicBezTo>
                        <a:pt x="58103" y="457200"/>
                        <a:pt x="37148" y="429578"/>
                        <a:pt x="24765" y="394335"/>
                      </a:cubicBezTo>
                      <a:close/>
                      <a:moveTo>
                        <a:pt x="67628" y="186690"/>
                      </a:moveTo>
                      <a:cubicBezTo>
                        <a:pt x="67628" y="222885"/>
                        <a:pt x="80010" y="253365"/>
                        <a:pt x="103823" y="278130"/>
                      </a:cubicBezTo>
                      <a:cubicBezTo>
                        <a:pt x="127635" y="302895"/>
                        <a:pt x="157163" y="315278"/>
                        <a:pt x="192405" y="315278"/>
                      </a:cubicBezTo>
                      <a:cubicBezTo>
                        <a:pt x="227648" y="315278"/>
                        <a:pt x="252413" y="302895"/>
                        <a:pt x="276225" y="278130"/>
                      </a:cubicBezTo>
                      <a:cubicBezTo>
                        <a:pt x="300038" y="253365"/>
                        <a:pt x="312420" y="224790"/>
                        <a:pt x="312420" y="191453"/>
                      </a:cubicBezTo>
                      <a:cubicBezTo>
                        <a:pt x="312420" y="158115"/>
                        <a:pt x="300038" y="125730"/>
                        <a:pt x="276225" y="100965"/>
                      </a:cubicBezTo>
                      <a:cubicBezTo>
                        <a:pt x="252413" y="76200"/>
                        <a:pt x="223838" y="62865"/>
                        <a:pt x="190500" y="62865"/>
                      </a:cubicBezTo>
                      <a:cubicBezTo>
                        <a:pt x="157163" y="62865"/>
                        <a:pt x="127635" y="75247"/>
                        <a:pt x="103823" y="99060"/>
                      </a:cubicBezTo>
                      <a:cubicBezTo>
                        <a:pt x="80010" y="122872"/>
                        <a:pt x="67628" y="152400"/>
                        <a:pt x="67628" y="186690"/>
                      </a:cubicBezTo>
                      <a:close/>
                    </a:path>
                  </a:pathLst>
                </a:custGeom>
                <a:solidFill>
                  <a:srgbClr val="1D1D1B"/>
                </a:solidFill>
                <a:ln w="0"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20B2ACDC-B9C2-895F-0FF5-8050E9CD5B70}"/>
                    </a:ext>
                  </a:extLst>
                </p:cNvPr>
                <p:cNvSpPr/>
                <p:nvPr/>
              </p:nvSpPr>
              <p:spPr>
                <a:xfrm>
                  <a:off x="7735845" y="8603481"/>
                  <a:ext cx="368617" cy="379094"/>
                </a:xfrm>
                <a:custGeom>
                  <a:avLst/>
                  <a:gdLst>
                    <a:gd name="connsiteX0" fmla="*/ 0 w 368617"/>
                    <a:gd name="connsiteY0" fmla="*/ 190500 h 379094"/>
                    <a:gd name="connsiteX1" fmla="*/ 12382 w 368617"/>
                    <a:gd name="connsiteY1" fmla="*/ 119063 h 379094"/>
                    <a:gd name="connsiteX2" fmla="*/ 50482 w 368617"/>
                    <a:gd name="connsiteY2" fmla="*/ 60007 h 379094"/>
                    <a:gd name="connsiteX3" fmla="*/ 111443 w 368617"/>
                    <a:gd name="connsiteY3" fmla="*/ 15240 h 379094"/>
                    <a:gd name="connsiteX4" fmla="*/ 181927 w 368617"/>
                    <a:gd name="connsiteY4" fmla="*/ 0 h 379094"/>
                    <a:gd name="connsiteX5" fmla="*/ 254318 w 368617"/>
                    <a:gd name="connsiteY5" fmla="*/ 14288 h 379094"/>
                    <a:gd name="connsiteX6" fmla="*/ 314325 w 368617"/>
                    <a:gd name="connsiteY6" fmla="*/ 55245 h 379094"/>
                    <a:gd name="connsiteX7" fmla="*/ 354330 w 368617"/>
                    <a:gd name="connsiteY7" fmla="*/ 116205 h 379094"/>
                    <a:gd name="connsiteX8" fmla="*/ 368618 w 368617"/>
                    <a:gd name="connsiteY8" fmla="*/ 185738 h 379094"/>
                    <a:gd name="connsiteX9" fmla="*/ 355282 w 368617"/>
                    <a:gd name="connsiteY9" fmla="*/ 257175 h 379094"/>
                    <a:gd name="connsiteX10" fmla="*/ 318135 w 368617"/>
                    <a:gd name="connsiteY10" fmla="*/ 318135 h 379094"/>
                    <a:gd name="connsiteX11" fmla="*/ 257175 w 368617"/>
                    <a:gd name="connsiteY11" fmla="*/ 363855 h 379094"/>
                    <a:gd name="connsiteX12" fmla="*/ 184785 w 368617"/>
                    <a:gd name="connsiteY12" fmla="*/ 379095 h 379094"/>
                    <a:gd name="connsiteX13" fmla="*/ 112395 w 368617"/>
                    <a:gd name="connsiteY13" fmla="*/ 364807 h 379094"/>
                    <a:gd name="connsiteX14" fmla="*/ 53340 w 368617"/>
                    <a:gd name="connsiteY14" fmla="*/ 322897 h 379094"/>
                    <a:gd name="connsiteX15" fmla="*/ 14288 w 368617"/>
                    <a:gd name="connsiteY15" fmla="*/ 261938 h 379094"/>
                    <a:gd name="connsiteX16" fmla="*/ 0 w 368617"/>
                    <a:gd name="connsiteY16" fmla="*/ 190500 h 379094"/>
                    <a:gd name="connsiteX17" fmla="*/ 66675 w 368617"/>
                    <a:gd name="connsiteY17" fmla="*/ 189547 h 379094"/>
                    <a:gd name="connsiteX18" fmla="*/ 100965 w 368617"/>
                    <a:gd name="connsiteY18" fmla="*/ 279082 h 379094"/>
                    <a:gd name="connsiteX19" fmla="*/ 185738 w 368617"/>
                    <a:gd name="connsiteY19" fmla="*/ 315278 h 379094"/>
                    <a:gd name="connsiteX20" fmla="*/ 269557 w 368617"/>
                    <a:gd name="connsiteY20" fmla="*/ 279082 h 379094"/>
                    <a:gd name="connsiteX21" fmla="*/ 302895 w 368617"/>
                    <a:gd name="connsiteY21" fmla="*/ 188595 h 379094"/>
                    <a:gd name="connsiteX22" fmla="*/ 269557 w 368617"/>
                    <a:gd name="connsiteY22" fmla="*/ 99060 h 379094"/>
                    <a:gd name="connsiteX23" fmla="*/ 185738 w 368617"/>
                    <a:gd name="connsiteY23" fmla="*/ 63818 h 379094"/>
                    <a:gd name="connsiteX24" fmla="*/ 101918 w 368617"/>
                    <a:gd name="connsiteY24" fmla="*/ 100013 h 379094"/>
                    <a:gd name="connsiteX25" fmla="*/ 67627 w 368617"/>
                    <a:gd name="connsiteY25" fmla="*/ 190500 h 37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8617" h="379094">
                      <a:moveTo>
                        <a:pt x="0" y="190500"/>
                      </a:moveTo>
                      <a:cubicBezTo>
                        <a:pt x="0" y="164782"/>
                        <a:pt x="3810" y="140970"/>
                        <a:pt x="12382" y="119063"/>
                      </a:cubicBezTo>
                      <a:cubicBezTo>
                        <a:pt x="20955" y="97155"/>
                        <a:pt x="33338" y="77153"/>
                        <a:pt x="50482" y="60007"/>
                      </a:cubicBezTo>
                      <a:cubicBezTo>
                        <a:pt x="68580" y="40957"/>
                        <a:pt x="88582" y="25718"/>
                        <a:pt x="111443" y="15240"/>
                      </a:cubicBezTo>
                      <a:cubicBezTo>
                        <a:pt x="134302" y="4763"/>
                        <a:pt x="157163" y="0"/>
                        <a:pt x="181927" y="0"/>
                      </a:cubicBezTo>
                      <a:cubicBezTo>
                        <a:pt x="206693" y="0"/>
                        <a:pt x="232410" y="4763"/>
                        <a:pt x="254318" y="14288"/>
                      </a:cubicBezTo>
                      <a:cubicBezTo>
                        <a:pt x="276225" y="23813"/>
                        <a:pt x="296227" y="37147"/>
                        <a:pt x="314325" y="55245"/>
                      </a:cubicBezTo>
                      <a:cubicBezTo>
                        <a:pt x="331470" y="73343"/>
                        <a:pt x="345757" y="93345"/>
                        <a:pt x="354330" y="116205"/>
                      </a:cubicBezTo>
                      <a:cubicBezTo>
                        <a:pt x="363855" y="139065"/>
                        <a:pt x="368618" y="161925"/>
                        <a:pt x="368618" y="185738"/>
                      </a:cubicBezTo>
                      <a:cubicBezTo>
                        <a:pt x="368618" y="209550"/>
                        <a:pt x="363855" y="234315"/>
                        <a:pt x="355282" y="257175"/>
                      </a:cubicBezTo>
                      <a:cubicBezTo>
                        <a:pt x="346710" y="280035"/>
                        <a:pt x="334327" y="300990"/>
                        <a:pt x="318135" y="318135"/>
                      </a:cubicBezTo>
                      <a:cubicBezTo>
                        <a:pt x="300038" y="338138"/>
                        <a:pt x="279082" y="353378"/>
                        <a:pt x="257175" y="363855"/>
                      </a:cubicBezTo>
                      <a:cubicBezTo>
                        <a:pt x="234315" y="374332"/>
                        <a:pt x="210502" y="379095"/>
                        <a:pt x="184785" y="379095"/>
                      </a:cubicBezTo>
                      <a:cubicBezTo>
                        <a:pt x="159068" y="379095"/>
                        <a:pt x="134302" y="374332"/>
                        <a:pt x="112395" y="364807"/>
                      </a:cubicBezTo>
                      <a:cubicBezTo>
                        <a:pt x="90488" y="355282"/>
                        <a:pt x="70485" y="340995"/>
                        <a:pt x="53340" y="322897"/>
                      </a:cubicBezTo>
                      <a:cubicBezTo>
                        <a:pt x="36195" y="305753"/>
                        <a:pt x="23813" y="284797"/>
                        <a:pt x="14288" y="261938"/>
                      </a:cubicBezTo>
                      <a:cubicBezTo>
                        <a:pt x="4763" y="239078"/>
                        <a:pt x="0" y="215265"/>
                        <a:pt x="0" y="190500"/>
                      </a:cubicBezTo>
                      <a:close/>
                      <a:moveTo>
                        <a:pt x="66675" y="189547"/>
                      </a:moveTo>
                      <a:cubicBezTo>
                        <a:pt x="66675" y="225743"/>
                        <a:pt x="78105" y="255270"/>
                        <a:pt x="100965" y="279082"/>
                      </a:cubicBezTo>
                      <a:cubicBezTo>
                        <a:pt x="123825" y="302895"/>
                        <a:pt x="152400" y="315278"/>
                        <a:pt x="185738" y="315278"/>
                      </a:cubicBezTo>
                      <a:cubicBezTo>
                        <a:pt x="219075" y="315278"/>
                        <a:pt x="246697" y="302895"/>
                        <a:pt x="269557" y="279082"/>
                      </a:cubicBezTo>
                      <a:cubicBezTo>
                        <a:pt x="292418" y="255270"/>
                        <a:pt x="302895" y="224790"/>
                        <a:pt x="302895" y="188595"/>
                      </a:cubicBezTo>
                      <a:cubicBezTo>
                        <a:pt x="302895" y="152400"/>
                        <a:pt x="291465" y="121920"/>
                        <a:pt x="269557" y="99060"/>
                      </a:cubicBezTo>
                      <a:cubicBezTo>
                        <a:pt x="246697" y="75247"/>
                        <a:pt x="219075" y="63818"/>
                        <a:pt x="185738" y="63818"/>
                      </a:cubicBezTo>
                      <a:cubicBezTo>
                        <a:pt x="152400" y="63818"/>
                        <a:pt x="123825" y="76200"/>
                        <a:pt x="101918" y="100013"/>
                      </a:cubicBezTo>
                      <a:cubicBezTo>
                        <a:pt x="79057" y="123825"/>
                        <a:pt x="67627" y="154305"/>
                        <a:pt x="67627" y="190500"/>
                      </a:cubicBezTo>
                      <a:close/>
                    </a:path>
                  </a:pathLst>
                </a:custGeom>
                <a:solidFill>
                  <a:srgbClr val="1D1D1B"/>
                </a:solidFill>
                <a:ln w="0"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C0099F73-DCC2-F432-B3B1-C4BDA76FCF6F}"/>
                    </a:ext>
                  </a:extLst>
                </p:cNvPr>
                <p:cNvSpPr/>
                <p:nvPr/>
              </p:nvSpPr>
              <p:spPr>
                <a:xfrm>
                  <a:off x="8181615" y="8604434"/>
                  <a:ext cx="373380" cy="505777"/>
                </a:xfrm>
                <a:custGeom>
                  <a:avLst/>
                  <a:gdLst>
                    <a:gd name="connsiteX0" fmla="*/ 23813 w 373380"/>
                    <a:gd name="connsiteY0" fmla="*/ 396240 h 505777"/>
                    <a:gd name="connsiteX1" fmla="*/ 92393 w 373380"/>
                    <a:gd name="connsiteY1" fmla="*/ 396240 h 505777"/>
                    <a:gd name="connsiteX2" fmla="*/ 131445 w 373380"/>
                    <a:gd name="connsiteY2" fmla="*/ 434340 h 505777"/>
                    <a:gd name="connsiteX3" fmla="*/ 186690 w 373380"/>
                    <a:gd name="connsiteY3" fmla="*/ 447675 h 505777"/>
                    <a:gd name="connsiteX4" fmla="*/ 274320 w 373380"/>
                    <a:gd name="connsiteY4" fmla="*/ 415290 h 505777"/>
                    <a:gd name="connsiteX5" fmla="*/ 307657 w 373380"/>
                    <a:gd name="connsiteY5" fmla="*/ 328613 h 505777"/>
                    <a:gd name="connsiteX6" fmla="*/ 307657 w 373380"/>
                    <a:gd name="connsiteY6" fmla="*/ 323850 h 505777"/>
                    <a:gd name="connsiteX7" fmla="*/ 252413 w 373380"/>
                    <a:gd name="connsiteY7" fmla="*/ 362903 h 505777"/>
                    <a:gd name="connsiteX8" fmla="*/ 187643 w 373380"/>
                    <a:gd name="connsiteY8" fmla="*/ 376238 h 505777"/>
                    <a:gd name="connsiteX9" fmla="*/ 53340 w 373380"/>
                    <a:gd name="connsiteY9" fmla="*/ 321945 h 505777"/>
                    <a:gd name="connsiteX10" fmla="*/ 0 w 373380"/>
                    <a:gd name="connsiteY10" fmla="*/ 186690 h 505777"/>
                    <a:gd name="connsiteX11" fmla="*/ 13335 w 373380"/>
                    <a:gd name="connsiteY11" fmla="*/ 115253 h 505777"/>
                    <a:gd name="connsiteX12" fmla="*/ 51435 w 373380"/>
                    <a:gd name="connsiteY12" fmla="*/ 55245 h 505777"/>
                    <a:gd name="connsiteX13" fmla="*/ 110490 w 373380"/>
                    <a:gd name="connsiteY13" fmla="*/ 13335 h 505777"/>
                    <a:gd name="connsiteX14" fmla="*/ 183832 w 373380"/>
                    <a:gd name="connsiteY14" fmla="*/ 0 h 505777"/>
                    <a:gd name="connsiteX15" fmla="*/ 251460 w 373380"/>
                    <a:gd name="connsiteY15" fmla="*/ 13335 h 505777"/>
                    <a:gd name="connsiteX16" fmla="*/ 308610 w 373380"/>
                    <a:gd name="connsiteY16" fmla="*/ 52388 h 505777"/>
                    <a:gd name="connsiteX17" fmla="*/ 308610 w 373380"/>
                    <a:gd name="connsiteY17" fmla="*/ 8572 h 505777"/>
                    <a:gd name="connsiteX18" fmla="*/ 373380 w 373380"/>
                    <a:gd name="connsiteY18" fmla="*/ 8572 h 505777"/>
                    <a:gd name="connsiteX19" fmla="*/ 373380 w 373380"/>
                    <a:gd name="connsiteY19" fmla="*/ 307657 h 505777"/>
                    <a:gd name="connsiteX20" fmla="*/ 324802 w 373380"/>
                    <a:gd name="connsiteY20" fmla="*/ 453390 h 505777"/>
                    <a:gd name="connsiteX21" fmla="*/ 191452 w 373380"/>
                    <a:gd name="connsiteY21" fmla="*/ 505778 h 505777"/>
                    <a:gd name="connsiteX22" fmla="*/ 86677 w 373380"/>
                    <a:gd name="connsiteY22" fmla="*/ 476250 h 505777"/>
                    <a:gd name="connsiteX23" fmla="*/ 24765 w 373380"/>
                    <a:gd name="connsiteY23" fmla="*/ 394335 h 505777"/>
                    <a:gd name="connsiteX24" fmla="*/ 67627 w 373380"/>
                    <a:gd name="connsiteY24" fmla="*/ 186690 h 505777"/>
                    <a:gd name="connsiteX25" fmla="*/ 103823 w 373380"/>
                    <a:gd name="connsiteY25" fmla="*/ 278130 h 505777"/>
                    <a:gd name="connsiteX26" fmla="*/ 192405 w 373380"/>
                    <a:gd name="connsiteY26" fmla="*/ 315278 h 505777"/>
                    <a:gd name="connsiteX27" fmla="*/ 276225 w 373380"/>
                    <a:gd name="connsiteY27" fmla="*/ 278130 h 505777"/>
                    <a:gd name="connsiteX28" fmla="*/ 312420 w 373380"/>
                    <a:gd name="connsiteY28" fmla="*/ 191453 h 505777"/>
                    <a:gd name="connsiteX29" fmla="*/ 276225 w 373380"/>
                    <a:gd name="connsiteY29" fmla="*/ 100965 h 505777"/>
                    <a:gd name="connsiteX30" fmla="*/ 190500 w 373380"/>
                    <a:gd name="connsiteY30" fmla="*/ 62865 h 505777"/>
                    <a:gd name="connsiteX31" fmla="*/ 103823 w 373380"/>
                    <a:gd name="connsiteY31" fmla="*/ 99060 h 505777"/>
                    <a:gd name="connsiteX32" fmla="*/ 67627 w 373380"/>
                    <a:gd name="connsiteY32" fmla="*/ 186690 h 5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73380" h="505777">
                      <a:moveTo>
                        <a:pt x="23813" y="396240"/>
                      </a:moveTo>
                      <a:lnTo>
                        <a:pt x="92393" y="396240"/>
                      </a:lnTo>
                      <a:cubicBezTo>
                        <a:pt x="101918" y="413385"/>
                        <a:pt x="115252" y="425767"/>
                        <a:pt x="131445" y="434340"/>
                      </a:cubicBezTo>
                      <a:cubicBezTo>
                        <a:pt x="147638" y="442913"/>
                        <a:pt x="165735" y="447675"/>
                        <a:pt x="186690" y="447675"/>
                      </a:cubicBezTo>
                      <a:cubicBezTo>
                        <a:pt x="222885" y="447675"/>
                        <a:pt x="252413" y="437197"/>
                        <a:pt x="274320" y="415290"/>
                      </a:cubicBezTo>
                      <a:cubicBezTo>
                        <a:pt x="296227" y="393382"/>
                        <a:pt x="307657" y="364807"/>
                        <a:pt x="307657" y="328613"/>
                      </a:cubicBezTo>
                      <a:lnTo>
                        <a:pt x="307657" y="323850"/>
                      </a:lnTo>
                      <a:cubicBezTo>
                        <a:pt x="291465" y="340995"/>
                        <a:pt x="272415" y="354330"/>
                        <a:pt x="252413" y="362903"/>
                      </a:cubicBezTo>
                      <a:cubicBezTo>
                        <a:pt x="232410" y="371475"/>
                        <a:pt x="210502" y="376238"/>
                        <a:pt x="187643" y="376238"/>
                      </a:cubicBezTo>
                      <a:cubicBezTo>
                        <a:pt x="133350" y="376238"/>
                        <a:pt x="88582" y="358140"/>
                        <a:pt x="53340" y="321945"/>
                      </a:cubicBezTo>
                      <a:cubicBezTo>
                        <a:pt x="18098" y="285750"/>
                        <a:pt x="0" y="240982"/>
                        <a:pt x="0" y="186690"/>
                      </a:cubicBezTo>
                      <a:cubicBezTo>
                        <a:pt x="0" y="132397"/>
                        <a:pt x="4763" y="138113"/>
                        <a:pt x="13335" y="115253"/>
                      </a:cubicBezTo>
                      <a:cubicBezTo>
                        <a:pt x="21907" y="92392"/>
                        <a:pt x="35243" y="72390"/>
                        <a:pt x="51435" y="55245"/>
                      </a:cubicBezTo>
                      <a:cubicBezTo>
                        <a:pt x="69532" y="36195"/>
                        <a:pt x="89535" y="22860"/>
                        <a:pt x="110490" y="13335"/>
                      </a:cubicBezTo>
                      <a:cubicBezTo>
                        <a:pt x="131445" y="4763"/>
                        <a:pt x="156210" y="0"/>
                        <a:pt x="183832" y="0"/>
                      </a:cubicBezTo>
                      <a:cubicBezTo>
                        <a:pt x="211455" y="0"/>
                        <a:pt x="230505" y="4763"/>
                        <a:pt x="251460" y="13335"/>
                      </a:cubicBezTo>
                      <a:cubicBezTo>
                        <a:pt x="272415" y="21907"/>
                        <a:pt x="291465" y="35242"/>
                        <a:pt x="308610" y="52388"/>
                      </a:cubicBezTo>
                      <a:lnTo>
                        <a:pt x="308610" y="8572"/>
                      </a:lnTo>
                      <a:lnTo>
                        <a:pt x="373380" y="8572"/>
                      </a:lnTo>
                      <a:lnTo>
                        <a:pt x="373380" y="307657"/>
                      </a:lnTo>
                      <a:cubicBezTo>
                        <a:pt x="373380" y="369570"/>
                        <a:pt x="357188" y="418147"/>
                        <a:pt x="324802" y="453390"/>
                      </a:cubicBezTo>
                      <a:cubicBezTo>
                        <a:pt x="292418" y="488632"/>
                        <a:pt x="247650" y="505778"/>
                        <a:pt x="191452" y="505778"/>
                      </a:cubicBezTo>
                      <a:cubicBezTo>
                        <a:pt x="135255" y="505778"/>
                        <a:pt x="115252" y="496253"/>
                        <a:pt x="86677" y="476250"/>
                      </a:cubicBezTo>
                      <a:cubicBezTo>
                        <a:pt x="57150" y="457200"/>
                        <a:pt x="37148" y="429578"/>
                        <a:pt x="24765" y="394335"/>
                      </a:cubicBezTo>
                      <a:close/>
                      <a:moveTo>
                        <a:pt x="67627" y="186690"/>
                      </a:moveTo>
                      <a:cubicBezTo>
                        <a:pt x="67627" y="222885"/>
                        <a:pt x="80010" y="253365"/>
                        <a:pt x="103823" y="278130"/>
                      </a:cubicBezTo>
                      <a:cubicBezTo>
                        <a:pt x="127635" y="302895"/>
                        <a:pt x="157163" y="315278"/>
                        <a:pt x="192405" y="315278"/>
                      </a:cubicBezTo>
                      <a:cubicBezTo>
                        <a:pt x="227648" y="315278"/>
                        <a:pt x="252413" y="302895"/>
                        <a:pt x="276225" y="278130"/>
                      </a:cubicBezTo>
                      <a:cubicBezTo>
                        <a:pt x="300038" y="253365"/>
                        <a:pt x="312420" y="224790"/>
                        <a:pt x="312420" y="191453"/>
                      </a:cubicBezTo>
                      <a:cubicBezTo>
                        <a:pt x="312420" y="158115"/>
                        <a:pt x="300038" y="125730"/>
                        <a:pt x="276225" y="100965"/>
                      </a:cubicBezTo>
                      <a:cubicBezTo>
                        <a:pt x="252413" y="76200"/>
                        <a:pt x="223838" y="62865"/>
                        <a:pt x="190500" y="62865"/>
                      </a:cubicBezTo>
                      <a:cubicBezTo>
                        <a:pt x="157163" y="62865"/>
                        <a:pt x="127635" y="75247"/>
                        <a:pt x="103823" y="99060"/>
                      </a:cubicBezTo>
                      <a:cubicBezTo>
                        <a:pt x="80010" y="122872"/>
                        <a:pt x="67627" y="152400"/>
                        <a:pt x="67627" y="186690"/>
                      </a:cubicBezTo>
                      <a:close/>
                    </a:path>
                  </a:pathLst>
                </a:custGeom>
                <a:solidFill>
                  <a:srgbClr val="1D1D1B"/>
                </a:solidFill>
                <a:ln w="0"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34F7A839-38C7-D55F-E4BC-9CA752C0FF90}"/>
                    </a:ext>
                  </a:extLst>
                </p:cNvPr>
                <p:cNvSpPr/>
                <p:nvPr/>
              </p:nvSpPr>
              <p:spPr>
                <a:xfrm>
                  <a:off x="8670247" y="8497753"/>
                  <a:ext cx="63817" cy="474345"/>
                </a:xfrm>
                <a:custGeom>
                  <a:avLst/>
                  <a:gdLst>
                    <a:gd name="connsiteX0" fmla="*/ 63818 w 63817"/>
                    <a:gd name="connsiteY0" fmla="*/ 74295 h 474345"/>
                    <a:gd name="connsiteX1" fmla="*/ 0 w 63817"/>
                    <a:gd name="connsiteY1" fmla="*/ 74295 h 474345"/>
                    <a:gd name="connsiteX2" fmla="*/ 0 w 63817"/>
                    <a:gd name="connsiteY2" fmla="*/ 0 h 474345"/>
                    <a:gd name="connsiteX3" fmla="*/ 63818 w 63817"/>
                    <a:gd name="connsiteY3" fmla="*/ 0 h 474345"/>
                    <a:gd name="connsiteX4" fmla="*/ 63818 w 63817"/>
                    <a:gd name="connsiteY4" fmla="*/ 74295 h 474345"/>
                    <a:gd name="connsiteX5" fmla="*/ 0 w 63817"/>
                    <a:gd name="connsiteY5" fmla="*/ 474345 h 474345"/>
                    <a:gd name="connsiteX6" fmla="*/ 0 w 63817"/>
                    <a:gd name="connsiteY6" fmla="*/ 116205 h 474345"/>
                    <a:gd name="connsiteX7" fmla="*/ 63818 w 63817"/>
                    <a:gd name="connsiteY7" fmla="*/ 116205 h 474345"/>
                    <a:gd name="connsiteX8" fmla="*/ 63818 w 63817"/>
                    <a:gd name="connsiteY8" fmla="*/ 474345 h 474345"/>
                    <a:gd name="connsiteX9" fmla="*/ 0 w 63817"/>
                    <a:gd name="connsiteY9" fmla="*/ 474345 h 47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17" h="474345">
                      <a:moveTo>
                        <a:pt x="63818" y="74295"/>
                      </a:moveTo>
                      <a:lnTo>
                        <a:pt x="0" y="74295"/>
                      </a:lnTo>
                      <a:lnTo>
                        <a:pt x="0" y="0"/>
                      </a:lnTo>
                      <a:lnTo>
                        <a:pt x="63818" y="0"/>
                      </a:lnTo>
                      <a:lnTo>
                        <a:pt x="63818" y="74295"/>
                      </a:lnTo>
                      <a:close/>
                      <a:moveTo>
                        <a:pt x="0" y="474345"/>
                      </a:moveTo>
                      <a:lnTo>
                        <a:pt x="0" y="116205"/>
                      </a:lnTo>
                      <a:lnTo>
                        <a:pt x="63818" y="116205"/>
                      </a:lnTo>
                      <a:lnTo>
                        <a:pt x="63818" y="474345"/>
                      </a:lnTo>
                      <a:lnTo>
                        <a:pt x="0" y="474345"/>
                      </a:lnTo>
                      <a:close/>
                    </a:path>
                  </a:pathLst>
                </a:custGeom>
                <a:solidFill>
                  <a:srgbClr val="1D1D1B"/>
                </a:solidFill>
                <a:ln w="0"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D0D793D1-2539-AAC6-0875-B01F81F9E949}"/>
                    </a:ext>
                  </a:extLst>
                </p:cNvPr>
                <p:cNvSpPr/>
                <p:nvPr/>
              </p:nvSpPr>
              <p:spPr>
                <a:xfrm>
                  <a:off x="8850270" y="8497753"/>
                  <a:ext cx="290512" cy="475297"/>
                </a:xfrm>
                <a:custGeom>
                  <a:avLst/>
                  <a:gdLst>
                    <a:gd name="connsiteX0" fmla="*/ 0 w 290512"/>
                    <a:gd name="connsiteY0" fmla="*/ 474345 h 475297"/>
                    <a:gd name="connsiteX1" fmla="*/ 0 w 290512"/>
                    <a:gd name="connsiteY1" fmla="*/ 0 h 475297"/>
                    <a:gd name="connsiteX2" fmla="*/ 63818 w 290512"/>
                    <a:gd name="connsiteY2" fmla="*/ 0 h 475297"/>
                    <a:gd name="connsiteX3" fmla="*/ 63818 w 290512"/>
                    <a:gd name="connsiteY3" fmla="*/ 281940 h 475297"/>
                    <a:gd name="connsiteX4" fmla="*/ 191452 w 290512"/>
                    <a:gd name="connsiteY4" fmla="*/ 116205 h 475297"/>
                    <a:gd name="connsiteX5" fmla="*/ 266700 w 290512"/>
                    <a:gd name="connsiteY5" fmla="*/ 116205 h 475297"/>
                    <a:gd name="connsiteX6" fmla="*/ 135255 w 290512"/>
                    <a:gd name="connsiteY6" fmla="*/ 286703 h 475297"/>
                    <a:gd name="connsiteX7" fmla="*/ 290513 w 290512"/>
                    <a:gd name="connsiteY7" fmla="*/ 475297 h 475297"/>
                    <a:gd name="connsiteX8" fmla="*/ 207645 w 290512"/>
                    <a:gd name="connsiteY8" fmla="*/ 475297 h 475297"/>
                    <a:gd name="connsiteX9" fmla="*/ 63818 w 290512"/>
                    <a:gd name="connsiteY9" fmla="*/ 293370 h 475297"/>
                    <a:gd name="connsiteX10" fmla="*/ 63818 w 290512"/>
                    <a:gd name="connsiteY10" fmla="*/ 475297 h 475297"/>
                    <a:gd name="connsiteX11" fmla="*/ 0 w 290512"/>
                    <a:gd name="connsiteY11" fmla="*/ 475297 h 47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0512" h="475297">
                      <a:moveTo>
                        <a:pt x="0" y="474345"/>
                      </a:moveTo>
                      <a:lnTo>
                        <a:pt x="0" y="0"/>
                      </a:lnTo>
                      <a:lnTo>
                        <a:pt x="63818" y="0"/>
                      </a:lnTo>
                      <a:lnTo>
                        <a:pt x="63818" y="281940"/>
                      </a:lnTo>
                      <a:lnTo>
                        <a:pt x="191452" y="116205"/>
                      </a:lnTo>
                      <a:lnTo>
                        <a:pt x="266700" y="116205"/>
                      </a:lnTo>
                      <a:lnTo>
                        <a:pt x="135255" y="286703"/>
                      </a:lnTo>
                      <a:lnTo>
                        <a:pt x="290513" y="475297"/>
                      </a:lnTo>
                      <a:lnTo>
                        <a:pt x="207645" y="475297"/>
                      </a:lnTo>
                      <a:lnTo>
                        <a:pt x="63818" y="293370"/>
                      </a:lnTo>
                      <a:lnTo>
                        <a:pt x="63818" y="475297"/>
                      </a:lnTo>
                      <a:lnTo>
                        <a:pt x="0" y="475297"/>
                      </a:lnTo>
                      <a:close/>
                    </a:path>
                  </a:pathLst>
                </a:custGeom>
                <a:solidFill>
                  <a:srgbClr val="1D1D1B"/>
                </a:solidFill>
                <a:ln w="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64E4C962-A0F2-5204-FF7F-897E41A60114}"/>
                    </a:ext>
                  </a:extLst>
                </p:cNvPr>
                <p:cNvSpPr/>
                <p:nvPr/>
              </p:nvSpPr>
              <p:spPr>
                <a:xfrm>
                  <a:off x="5069797" y="7867198"/>
                  <a:ext cx="232410" cy="399097"/>
                </a:xfrm>
                <a:custGeom>
                  <a:avLst/>
                  <a:gdLst>
                    <a:gd name="connsiteX0" fmla="*/ 11430 w 232410"/>
                    <a:gd name="connsiteY0" fmla="*/ 331470 h 399097"/>
                    <a:gd name="connsiteX1" fmla="*/ 100013 w 232410"/>
                    <a:gd name="connsiteY1" fmla="*/ 356235 h 399097"/>
                    <a:gd name="connsiteX2" fmla="*/ 180975 w 232410"/>
                    <a:gd name="connsiteY2" fmla="*/ 290513 h 399097"/>
                    <a:gd name="connsiteX3" fmla="*/ 108585 w 232410"/>
                    <a:gd name="connsiteY3" fmla="*/ 214313 h 399097"/>
                    <a:gd name="connsiteX4" fmla="*/ 6668 w 232410"/>
                    <a:gd name="connsiteY4" fmla="*/ 104775 h 399097"/>
                    <a:gd name="connsiteX5" fmla="*/ 131445 w 232410"/>
                    <a:gd name="connsiteY5" fmla="*/ 0 h 399097"/>
                    <a:gd name="connsiteX6" fmla="*/ 216218 w 232410"/>
                    <a:gd name="connsiteY6" fmla="*/ 19050 h 399097"/>
                    <a:gd name="connsiteX7" fmla="*/ 202883 w 232410"/>
                    <a:gd name="connsiteY7" fmla="*/ 60008 h 399097"/>
                    <a:gd name="connsiteX8" fmla="*/ 130493 w 232410"/>
                    <a:gd name="connsiteY8" fmla="*/ 41910 h 399097"/>
                    <a:gd name="connsiteX9" fmla="*/ 58103 w 232410"/>
                    <a:gd name="connsiteY9" fmla="*/ 100013 h 399097"/>
                    <a:gd name="connsiteX10" fmla="*/ 134303 w 232410"/>
                    <a:gd name="connsiteY10" fmla="*/ 174308 h 399097"/>
                    <a:gd name="connsiteX11" fmla="*/ 232410 w 232410"/>
                    <a:gd name="connsiteY11" fmla="*/ 287655 h 399097"/>
                    <a:gd name="connsiteX12" fmla="*/ 98108 w 232410"/>
                    <a:gd name="connsiteY12" fmla="*/ 399098 h 399097"/>
                    <a:gd name="connsiteX13" fmla="*/ 0 w 232410"/>
                    <a:gd name="connsiteY13" fmla="*/ 374333 h 399097"/>
                    <a:gd name="connsiteX14" fmla="*/ 13335 w 232410"/>
                    <a:gd name="connsiteY14" fmla="*/ 332423 h 39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2410" h="399097">
                      <a:moveTo>
                        <a:pt x="11430" y="331470"/>
                      </a:moveTo>
                      <a:cubicBezTo>
                        <a:pt x="33338" y="345758"/>
                        <a:pt x="65723" y="356235"/>
                        <a:pt x="100013" y="356235"/>
                      </a:cubicBezTo>
                      <a:cubicBezTo>
                        <a:pt x="150495" y="356235"/>
                        <a:pt x="180975" y="329565"/>
                        <a:pt x="180975" y="290513"/>
                      </a:cubicBezTo>
                      <a:cubicBezTo>
                        <a:pt x="180975" y="251460"/>
                        <a:pt x="160020" y="234315"/>
                        <a:pt x="108585" y="214313"/>
                      </a:cubicBezTo>
                      <a:cubicBezTo>
                        <a:pt x="45720" y="191453"/>
                        <a:pt x="6668" y="158115"/>
                        <a:pt x="6668" y="104775"/>
                      </a:cubicBezTo>
                      <a:cubicBezTo>
                        <a:pt x="6668" y="51435"/>
                        <a:pt x="56198" y="0"/>
                        <a:pt x="131445" y="0"/>
                      </a:cubicBezTo>
                      <a:cubicBezTo>
                        <a:pt x="206693" y="0"/>
                        <a:pt x="199073" y="9525"/>
                        <a:pt x="216218" y="19050"/>
                      </a:cubicBezTo>
                      <a:lnTo>
                        <a:pt x="202883" y="60008"/>
                      </a:lnTo>
                      <a:cubicBezTo>
                        <a:pt x="190500" y="52388"/>
                        <a:pt x="164783" y="41910"/>
                        <a:pt x="130493" y="41910"/>
                      </a:cubicBezTo>
                      <a:cubicBezTo>
                        <a:pt x="78105" y="41910"/>
                        <a:pt x="58103" y="73342"/>
                        <a:pt x="58103" y="100013"/>
                      </a:cubicBezTo>
                      <a:cubicBezTo>
                        <a:pt x="58103" y="126683"/>
                        <a:pt x="81915" y="153353"/>
                        <a:pt x="134303" y="174308"/>
                      </a:cubicBezTo>
                      <a:cubicBezTo>
                        <a:pt x="199073" y="200025"/>
                        <a:pt x="232410" y="230505"/>
                        <a:pt x="232410" y="287655"/>
                      </a:cubicBezTo>
                      <a:cubicBezTo>
                        <a:pt x="232410" y="344805"/>
                        <a:pt x="188595" y="399098"/>
                        <a:pt x="98108" y="399098"/>
                      </a:cubicBezTo>
                      <a:cubicBezTo>
                        <a:pt x="7620" y="399098"/>
                        <a:pt x="20003" y="387667"/>
                        <a:pt x="0" y="374333"/>
                      </a:cubicBezTo>
                      <a:lnTo>
                        <a:pt x="13335" y="332423"/>
                      </a:lnTo>
                      <a:close/>
                    </a:path>
                  </a:pathLst>
                </a:custGeom>
                <a:solidFill>
                  <a:srgbClr val="1D1D1B"/>
                </a:solidFill>
                <a:ln w="0"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B5C7476D-AA92-3F7F-A6CF-79FE665AF5E3}"/>
                    </a:ext>
                  </a:extLst>
                </p:cNvPr>
                <p:cNvSpPr/>
                <p:nvPr/>
              </p:nvSpPr>
              <p:spPr>
                <a:xfrm>
                  <a:off x="5334593" y="7915776"/>
                  <a:ext cx="163829" cy="348614"/>
                </a:xfrm>
                <a:custGeom>
                  <a:avLst/>
                  <a:gdLst>
                    <a:gd name="connsiteX0" fmla="*/ 91440 w 163829"/>
                    <a:gd name="connsiteY0" fmla="*/ 0 h 348614"/>
                    <a:gd name="connsiteX1" fmla="*/ 91440 w 163829"/>
                    <a:gd name="connsiteY1" fmla="*/ 66675 h 348614"/>
                    <a:gd name="connsiteX2" fmla="*/ 163830 w 163829"/>
                    <a:gd name="connsiteY2" fmla="*/ 66675 h 348614"/>
                    <a:gd name="connsiteX3" fmla="*/ 163830 w 163829"/>
                    <a:gd name="connsiteY3" fmla="*/ 104775 h 348614"/>
                    <a:gd name="connsiteX4" fmla="*/ 91440 w 163829"/>
                    <a:gd name="connsiteY4" fmla="*/ 104775 h 348614"/>
                    <a:gd name="connsiteX5" fmla="*/ 91440 w 163829"/>
                    <a:gd name="connsiteY5" fmla="*/ 254317 h 348614"/>
                    <a:gd name="connsiteX6" fmla="*/ 129540 w 163829"/>
                    <a:gd name="connsiteY6" fmla="*/ 307658 h 348614"/>
                    <a:gd name="connsiteX7" fmla="*/ 159067 w 163829"/>
                    <a:gd name="connsiteY7" fmla="*/ 303847 h 348614"/>
                    <a:gd name="connsiteX8" fmla="*/ 160972 w 163829"/>
                    <a:gd name="connsiteY8" fmla="*/ 341947 h 348614"/>
                    <a:gd name="connsiteX9" fmla="*/ 116205 w 163829"/>
                    <a:gd name="connsiteY9" fmla="*/ 348615 h 348614"/>
                    <a:gd name="connsiteX10" fmla="*/ 61913 w 163829"/>
                    <a:gd name="connsiteY10" fmla="*/ 327660 h 348614"/>
                    <a:gd name="connsiteX11" fmla="*/ 42863 w 163829"/>
                    <a:gd name="connsiteY11" fmla="*/ 255270 h 348614"/>
                    <a:gd name="connsiteX12" fmla="*/ 42863 w 163829"/>
                    <a:gd name="connsiteY12" fmla="*/ 104775 h 348614"/>
                    <a:gd name="connsiteX13" fmla="*/ 0 w 163829"/>
                    <a:gd name="connsiteY13" fmla="*/ 104775 h 348614"/>
                    <a:gd name="connsiteX14" fmla="*/ 0 w 163829"/>
                    <a:gd name="connsiteY14" fmla="*/ 66675 h 348614"/>
                    <a:gd name="connsiteX15" fmla="*/ 42863 w 163829"/>
                    <a:gd name="connsiteY15" fmla="*/ 66675 h 348614"/>
                    <a:gd name="connsiteX16" fmla="*/ 42863 w 163829"/>
                    <a:gd name="connsiteY16" fmla="*/ 16192 h 348614"/>
                    <a:gd name="connsiteX17" fmla="*/ 92392 w 163829"/>
                    <a:gd name="connsiteY17" fmla="*/ 952 h 34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829" h="348614">
                      <a:moveTo>
                        <a:pt x="91440" y="0"/>
                      </a:moveTo>
                      <a:lnTo>
                        <a:pt x="91440" y="66675"/>
                      </a:lnTo>
                      <a:lnTo>
                        <a:pt x="163830" y="66675"/>
                      </a:lnTo>
                      <a:lnTo>
                        <a:pt x="163830" y="104775"/>
                      </a:lnTo>
                      <a:lnTo>
                        <a:pt x="91440" y="104775"/>
                      </a:lnTo>
                      <a:lnTo>
                        <a:pt x="91440" y="254317"/>
                      </a:lnTo>
                      <a:cubicBezTo>
                        <a:pt x="91440" y="288608"/>
                        <a:pt x="100965" y="307658"/>
                        <a:pt x="129540" y="307658"/>
                      </a:cubicBezTo>
                      <a:cubicBezTo>
                        <a:pt x="158115" y="307658"/>
                        <a:pt x="151447" y="306705"/>
                        <a:pt x="159067" y="303847"/>
                      </a:cubicBezTo>
                      <a:lnTo>
                        <a:pt x="160972" y="341947"/>
                      </a:lnTo>
                      <a:cubicBezTo>
                        <a:pt x="151447" y="345758"/>
                        <a:pt x="136207" y="348615"/>
                        <a:pt x="116205" y="348615"/>
                      </a:cubicBezTo>
                      <a:cubicBezTo>
                        <a:pt x="96203" y="348615"/>
                        <a:pt x="74295" y="340995"/>
                        <a:pt x="61913" y="327660"/>
                      </a:cubicBezTo>
                      <a:cubicBezTo>
                        <a:pt x="48578" y="312420"/>
                        <a:pt x="42863" y="287655"/>
                        <a:pt x="42863" y="255270"/>
                      </a:cubicBezTo>
                      <a:lnTo>
                        <a:pt x="42863" y="104775"/>
                      </a:lnTo>
                      <a:lnTo>
                        <a:pt x="0" y="104775"/>
                      </a:lnTo>
                      <a:lnTo>
                        <a:pt x="0" y="66675"/>
                      </a:lnTo>
                      <a:lnTo>
                        <a:pt x="42863" y="66675"/>
                      </a:lnTo>
                      <a:lnTo>
                        <a:pt x="42863" y="16192"/>
                      </a:lnTo>
                      <a:lnTo>
                        <a:pt x="92392" y="952"/>
                      </a:lnTo>
                      <a:close/>
                    </a:path>
                  </a:pathLst>
                </a:custGeom>
                <a:solidFill>
                  <a:srgbClr val="1D1D1B"/>
                </a:solidFill>
                <a:ln w="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272FA387-3B30-791B-B221-F0BD222999A5}"/>
                    </a:ext>
                  </a:extLst>
                </p:cNvPr>
                <p:cNvSpPr/>
                <p:nvPr/>
              </p:nvSpPr>
              <p:spPr>
                <a:xfrm>
                  <a:off x="5547000" y="7866246"/>
                  <a:ext cx="64770" cy="392429"/>
                </a:xfrm>
                <a:custGeom>
                  <a:avLst/>
                  <a:gdLst>
                    <a:gd name="connsiteX0" fmla="*/ 31433 w 64770"/>
                    <a:gd name="connsiteY0" fmla="*/ 64770 h 392429"/>
                    <a:gd name="connsiteX1" fmla="*/ 0 w 64770"/>
                    <a:gd name="connsiteY1" fmla="*/ 32385 h 392429"/>
                    <a:gd name="connsiteX2" fmla="*/ 32385 w 64770"/>
                    <a:gd name="connsiteY2" fmla="*/ 0 h 392429"/>
                    <a:gd name="connsiteX3" fmla="*/ 64770 w 64770"/>
                    <a:gd name="connsiteY3" fmla="*/ 32385 h 392429"/>
                    <a:gd name="connsiteX4" fmla="*/ 32385 w 64770"/>
                    <a:gd name="connsiteY4" fmla="*/ 64770 h 392429"/>
                    <a:gd name="connsiteX5" fmla="*/ 32385 w 64770"/>
                    <a:gd name="connsiteY5" fmla="*/ 64770 h 392429"/>
                    <a:gd name="connsiteX6" fmla="*/ 7620 w 64770"/>
                    <a:gd name="connsiteY6" fmla="*/ 392430 h 392429"/>
                    <a:gd name="connsiteX7" fmla="*/ 7620 w 64770"/>
                    <a:gd name="connsiteY7" fmla="*/ 116205 h 392429"/>
                    <a:gd name="connsiteX8" fmla="*/ 58103 w 64770"/>
                    <a:gd name="connsiteY8" fmla="*/ 116205 h 392429"/>
                    <a:gd name="connsiteX9" fmla="*/ 58103 w 64770"/>
                    <a:gd name="connsiteY9" fmla="*/ 392430 h 392429"/>
                    <a:gd name="connsiteX10" fmla="*/ 7620 w 64770"/>
                    <a:gd name="connsiteY10" fmla="*/ 392430 h 39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0" h="392429">
                      <a:moveTo>
                        <a:pt x="31433" y="64770"/>
                      </a:moveTo>
                      <a:cubicBezTo>
                        <a:pt x="12383" y="64770"/>
                        <a:pt x="0" y="49530"/>
                        <a:pt x="0" y="32385"/>
                      </a:cubicBezTo>
                      <a:cubicBezTo>
                        <a:pt x="0" y="15240"/>
                        <a:pt x="13335" y="0"/>
                        <a:pt x="32385" y="0"/>
                      </a:cubicBezTo>
                      <a:cubicBezTo>
                        <a:pt x="51435" y="0"/>
                        <a:pt x="64770" y="14288"/>
                        <a:pt x="64770" y="32385"/>
                      </a:cubicBezTo>
                      <a:cubicBezTo>
                        <a:pt x="64770" y="50482"/>
                        <a:pt x="52388" y="64770"/>
                        <a:pt x="32385" y="64770"/>
                      </a:cubicBezTo>
                      <a:lnTo>
                        <a:pt x="32385" y="64770"/>
                      </a:lnTo>
                      <a:close/>
                      <a:moveTo>
                        <a:pt x="7620" y="392430"/>
                      </a:moveTo>
                      <a:lnTo>
                        <a:pt x="7620" y="116205"/>
                      </a:lnTo>
                      <a:lnTo>
                        <a:pt x="58103" y="116205"/>
                      </a:lnTo>
                      <a:lnTo>
                        <a:pt x="58103" y="392430"/>
                      </a:lnTo>
                      <a:lnTo>
                        <a:pt x="7620" y="392430"/>
                      </a:lnTo>
                      <a:close/>
                    </a:path>
                  </a:pathLst>
                </a:custGeom>
                <a:solidFill>
                  <a:srgbClr val="1D1D1B"/>
                </a:solidFill>
                <a:ln w="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A6028F67-9453-290B-8E61-9E0C38E2E124}"/>
                    </a:ext>
                  </a:extLst>
                </p:cNvPr>
                <p:cNvSpPr/>
                <p:nvPr/>
              </p:nvSpPr>
              <p:spPr>
                <a:xfrm>
                  <a:off x="5654633" y="7847196"/>
                  <a:ext cx="180022" cy="411479"/>
                </a:xfrm>
                <a:custGeom>
                  <a:avLst/>
                  <a:gdLst>
                    <a:gd name="connsiteX0" fmla="*/ 38100 w 180022"/>
                    <a:gd name="connsiteY0" fmla="*/ 411480 h 411479"/>
                    <a:gd name="connsiteX1" fmla="*/ 38100 w 180022"/>
                    <a:gd name="connsiteY1" fmla="*/ 173355 h 411479"/>
                    <a:gd name="connsiteX2" fmla="*/ 0 w 180022"/>
                    <a:gd name="connsiteY2" fmla="*/ 173355 h 411479"/>
                    <a:gd name="connsiteX3" fmla="*/ 0 w 180022"/>
                    <a:gd name="connsiteY3" fmla="*/ 135255 h 411479"/>
                    <a:gd name="connsiteX4" fmla="*/ 38100 w 180022"/>
                    <a:gd name="connsiteY4" fmla="*/ 135255 h 411479"/>
                    <a:gd name="connsiteX5" fmla="*/ 38100 w 180022"/>
                    <a:gd name="connsiteY5" fmla="*/ 121920 h 411479"/>
                    <a:gd name="connsiteX6" fmla="*/ 70485 w 180022"/>
                    <a:gd name="connsiteY6" fmla="*/ 25717 h 411479"/>
                    <a:gd name="connsiteX7" fmla="*/ 137160 w 180022"/>
                    <a:gd name="connsiteY7" fmla="*/ 0 h 411479"/>
                    <a:gd name="connsiteX8" fmla="*/ 180022 w 180022"/>
                    <a:gd name="connsiteY8" fmla="*/ 7620 h 411479"/>
                    <a:gd name="connsiteX9" fmla="*/ 173355 w 180022"/>
                    <a:gd name="connsiteY9" fmla="*/ 46672 h 411479"/>
                    <a:gd name="connsiteX10" fmla="*/ 140970 w 180022"/>
                    <a:gd name="connsiteY10" fmla="*/ 40005 h 411479"/>
                    <a:gd name="connsiteX11" fmla="*/ 87630 w 180022"/>
                    <a:gd name="connsiteY11" fmla="*/ 120015 h 411479"/>
                    <a:gd name="connsiteX12" fmla="*/ 87630 w 180022"/>
                    <a:gd name="connsiteY12" fmla="*/ 135255 h 411479"/>
                    <a:gd name="connsiteX13" fmla="*/ 154305 w 180022"/>
                    <a:gd name="connsiteY13" fmla="*/ 135255 h 411479"/>
                    <a:gd name="connsiteX14" fmla="*/ 154305 w 180022"/>
                    <a:gd name="connsiteY14" fmla="*/ 173355 h 411479"/>
                    <a:gd name="connsiteX15" fmla="*/ 87630 w 180022"/>
                    <a:gd name="connsiteY15" fmla="*/ 173355 h 411479"/>
                    <a:gd name="connsiteX16" fmla="*/ 87630 w 180022"/>
                    <a:gd name="connsiteY16" fmla="*/ 411480 h 411479"/>
                    <a:gd name="connsiteX17" fmla="*/ 37147 w 180022"/>
                    <a:gd name="connsiteY17" fmla="*/ 411480 h 411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022" h="411479">
                      <a:moveTo>
                        <a:pt x="38100" y="411480"/>
                      </a:moveTo>
                      <a:lnTo>
                        <a:pt x="38100" y="173355"/>
                      </a:lnTo>
                      <a:lnTo>
                        <a:pt x="0" y="173355"/>
                      </a:lnTo>
                      <a:lnTo>
                        <a:pt x="0" y="135255"/>
                      </a:lnTo>
                      <a:lnTo>
                        <a:pt x="38100" y="135255"/>
                      </a:lnTo>
                      <a:lnTo>
                        <a:pt x="38100" y="121920"/>
                      </a:lnTo>
                      <a:cubicBezTo>
                        <a:pt x="38100" y="82867"/>
                        <a:pt x="47625" y="47625"/>
                        <a:pt x="70485" y="25717"/>
                      </a:cubicBezTo>
                      <a:cubicBezTo>
                        <a:pt x="89535" y="7620"/>
                        <a:pt x="114300" y="0"/>
                        <a:pt x="137160" y="0"/>
                      </a:cubicBezTo>
                      <a:cubicBezTo>
                        <a:pt x="160020" y="0"/>
                        <a:pt x="170497" y="3810"/>
                        <a:pt x="180022" y="7620"/>
                      </a:cubicBezTo>
                      <a:lnTo>
                        <a:pt x="173355" y="46672"/>
                      </a:lnTo>
                      <a:cubicBezTo>
                        <a:pt x="165735" y="42863"/>
                        <a:pt x="155257" y="40005"/>
                        <a:pt x="140970" y="40005"/>
                      </a:cubicBezTo>
                      <a:cubicBezTo>
                        <a:pt x="99060" y="40005"/>
                        <a:pt x="87630" y="78105"/>
                        <a:pt x="87630" y="120015"/>
                      </a:cubicBezTo>
                      <a:lnTo>
                        <a:pt x="87630" y="135255"/>
                      </a:lnTo>
                      <a:lnTo>
                        <a:pt x="154305" y="135255"/>
                      </a:lnTo>
                      <a:lnTo>
                        <a:pt x="154305" y="173355"/>
                      </a:lnTo>
                      <a:lnTo>
                        <a:pt x="87630" y="173355"/>
                      </a:lnTo>
                      <a:lnTo>
                        <a:pt x="87630" y="411480"/>
                      </a:lnTo>
                      <a:lnTo>
                        <a:pt x="37147" y="411480"/>
                      </a:lnTo>
                      <a:close/>
                    </a:path>
                  </a:pathLst>
                </a:custGeom>
                <a:solidFill>
                  <a:srgbClr val="1D1D1B"/>
                </a:solidFill>
                <a:ln w="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ADEBB73F-997B-AACA-1357-78212CC50FE2}"/>
                    </a:ext>
                  </a:extLst>
                </p:cNvPr>
                <p:cNvSpPr/>
                <p:nvPr/>
              </p:nvSpPr>
              <p:spPr>
                <a:xfrm>
                  <a:off x="5829893" y="7915776"/>
                  <a:ext cx="163829" cy="348614"/>
                </a:xfrm>
                <a:custGeom>
                  <a:avLst/>
                  <a:gdLst>
                    <a:gd name="connsiteX0" fmla="*/ 91440 w 163829"/>
                    <a:gd name="connsiteY0" fmla="*/ 0 h 348614"/>
                    <a:gd name="connsiteX1" fmla="*/ 91440 w 163829"/>
                    <a:gd name="connsiteY1" fmla="*/ 66675 h 348614"/>
                    <a:gd name="connsiteX2" fmla="*/ 163830 w 163829"/>
                    <a:gd name="connsiteY2" fmla="*/ 66675 h 348614"/>
                    <a:gd name="connsiteX3" fmla="*/ 163830 w 163829"/>
                    <a:gd name="connsiteY3" fmla="*/ 104775 h 348614"/>
                    <a:gd name="connsiteX4" fmla="*/ 91440 w 163829"/>
                    <a:gd name="connsiteY4" fmla="*/ 104775 h 348614"/>
                    <a:gd name="connsiteX5" fmla="*/ 91440 w 163829"/>
                    <a:gd name="connsiteY5" fmla="*/ 254317 h 348614"/>
                    <a:gd name="connsiteX6" fmla="*/ 129540 w 163829"/>
                    <a:gd name="connsiteY6" fmla="*/ 307658 h 348614"/>
                    <a:gd name="connsiteX7" fmla="*/ 159067 w 163829"/>
                    <a:gd name="connsiteY7" fmla="*/ 303847 h 348614"/>
                    <a:gd name="connsiteX8" fmla="*/ 160972 w 163829"/>
                    <a:gd name="connsiteY8" fmla="*/ 341947 h 348614"/>
                    <a:gd name="connsiteX9" fmla="*/ 116205 w 163829"/>
                    <a:gd name="connsiteY9" fmla="*/ 348615 h 348614"/>
                    <a:gd name="connsiteX10" fmla="*/ 61913 w 163829"/>
                    <a:gd name="connsiteY10" fmla="*/ 327660 h 348614"/>
                    <a:gd name="connsiteX11" fmla="*/ 42863 w 163829"/>
                    <a:gd name="connsiteY11" fmla="*/ 255270 h 348614"/>
                    <a:gd name="connsiteX12" fmla="*/ 42863 w 163829"/>
                    <a:gd name="connsiteY12" fmla="*/ 104775 h 348614"/>
                    <a:gd name="connsiteX13" fmla="*/ 0 w 163829"/>
                    <a:gd name="connsiteY13" fmla="*/ 104775 h 348614"/>
                    <a:gd name="connsiteX14" fmla="*/ 0 w 163829"/>
                    <a:gd name="connsiteY14" fmla="*/ 66675 h 348614"/>
                    <a:gd name="connsiteX15" fmla="*/ 42863 w 163829"/>
                    <a:gd name="connsiteY15" fmla="*/ 66675 h 348614"/>
                    <a:gd name="connsiteX16" fmla="*/ 42863 w 163829"/>
                    <a:gd name="connsiteY16" fmla="*/ 16192 h 348614"/>
                    <a:gd name="connsiteX17" fmla="*/ 92392 w 163829"/>
                    <a:gd name="connsiteY17" fmla="*/ 952 h 34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829" h="348614">
                      <a:moveTo>
                        <a:pt x="91440" y="0"/>
                      </a:moveTo>
                      <a:lnTo>
                        <a:pt x="91440" y="66675"/>
                      </a:lnTo>
                      <a:lnTo>
                        <a:pt x="163830" y="66675"/>
                      </a:lnTo>
                      <a:lnTo>
                        <a:pt x="163830" y="104775"/>
                      </a:lnTo>
                      <a:lnTo>
                        <a:pt x="91440" y="104775"/>
                      </a:lnTo>
                      <a:lnTo>
                        <a:pt x="91440" y="254317"/>
                      </a:lnTo>
                      <a:cubicBezTo>
                        <a:pt x="91440" y="288608"/>
                        <a:pt x="100965" y="307658"/>
                        <a:pt x="129540" y="307658"/>
                      </a:cubicBezTo>
                      <a:cubicBezTo>
                        <a:pt x="158115" y="307658"/>
                        <a:pt x="151447" y="306705"/>
                        <a:pt x="159067" y="303847"/>
                      </a:cubicBezTo>
                      <a:lnTo>
                        <a:pt x="160972" y="341947"/>
                      </a:lnTo>
                      <a:cubicBezTo>
                        <a:pt x="151447" y="345758"/>
                        <a:pt x="136207" y="348615"/>
                        <a:pt x="116205" y="348615"/>
                      </a:cubicBezTo>
                      <a:cubicBezTo>
                        <a:pt x="96203" y="348615"/>
                        <a:pt x="74295" y="340995"/>
                        <a:pt x="61913" y="327660"/>
                      </a:cubicBezTo>
                      <a:cubicBezTo>
                        <a:pt x="48578" y="312420"/>
                        <a:pt x="42863" y="287655"/>
                        <a:pt x="42863" y="255270"/>
                      </a:cubicBezTo>
                      <a:lnTo>
                        <a:pt x="42863" y="104775"/>
                      </a:lnTo>
                      <a:lnTo>
                        <a:pt x="0" y="104775"/>
                      </a:lnTo>
                      <a:lnTo>
                        <a:pt x="0" y="66675"/>
                      </a:lnTo>
                      <a:lnTo>
                        <a:pt x="42863" y="66675"/>
                      </a:lnTo>
                      <a:lnTo>
                        <a:pt x="42863" y="16192"/>
                      </a:lnTo>
                      <a:lnTo>
                        <a:pt x="92392" y="952"/>
                      </a:lnTo>
                      <a:close/>
                    </a:path>
                  </a:pathLst>
                </a:custGeom>
                <a:solidFill>
                  <a:srgbClr val="1D1D1B"/>
                </a:solidFill>
                <a:ln w="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ABBBD3F6-B453-987B-5177-FDC79260EE13}"/>
                    </a:ext>
                  </a:extLst>
                </p:cNvPr>
                <p:cNvSpPr/>
                <p:nvPr/>
              </p:nvSpPr>
              <p:spPr>
                <a:xfrm>
                  <a:off x="6048015" y="7981498"/>
                  <a:ext cx="235267" cy="283845"/>
                </a:xfrm>
                <a:custGeom>
                  <a:avLst/>
                  <a:gdLst>
                    <a:gd name="connsiteX0" fmla="*/ 233363 w 235267"/>
                    <a:gd name="connsiteY0" fmla="*/ 201930 h 283845"/>
                    <a:gd name="connsiteX1" fmla="*/ 235268 w 235267"/>
                    <a:gd name="connsiteY1" fmla="*/ 277178 h 283845"/>
                    <a:gd name="connsiteX2" fmla="*/ 190500 w 235267"/>
                    <a:gd name="connsiteY2" fmla="*/ 277178 h 283845"/>
                    <a:gd name="connsiteX3" fmla="*/ 187643 w 235267"/>
                    <a:gd name="connsiteY3" fmla="*/ 232410 h 283845"/>
                    <a:gd name="connsiteX4" fmla="*/ 186690 w 235267"/>
                    <a:gd name="connsiteY4" fmla="*/ 232410 h 283845"/>
                    <a:gd name="connsiteX5" fmla="*/ 95250 w 235267"/>
                    <a:gd name="connsiteY5" fmla="*/ 283845 h 283845"/>
                    <a:gd name="connsiteX6" fmla="*/ 0 w 235267"/>
                    <a:gd name="connsiteY6" fmla="*/ 162878 h 283845"/>
                    <a:gd name="connsiteX7" fmla="*/ 0 w 235267"/>
                    <a:gd name="connsiteY7" fmla="*/ 953 h 283845"/>
                    <a:gd name="connsiteX8" fmla="*/ 50482 w 235267"/>
                    <a:gd name="connsiteY8" fmla="*/ 953 h 283845"/>
                    <a:gd name="connsiteX9" fmla="*/ 50482 w 235267"/>
                    <a:gd name="connsiteY9" fmla="*/ 153353 h 283845"/>
                    <a:gd name="connsiteX10" fmla="*/ 112395 w 235267"/>
                    <a:gd name="connsiteY10" fmla="*/ 241935 h 283845"/>
                    <a:gd name="connsiteX11" fmla="*/ 179070 w 235267"/>
                    <a:gd name="connsiteY11" fmla="*/ 195263 h 283845"/>
                    <a:gd name="connsiteX12" fmla="*/ 183832 w 235267"/>
                    <a:gd name="connsiteY12" fmla="*/ 169545 h 283845"/>
                    <a:gd name="connsiteX13" fmla="*/ 183832 w 235267"/>
                    <a:gd name="connsiteY13" fmla="*/ 0 h 283845"/>
                    <a:gd name="connsiteX14" fmla="*/ 234315 w 235267"/>
                    <a:gd name="connsiteY14" fmla="*/ 0 h 283845"/>
                    <a:gd name="connsiteX15" fmla="*/ 234315 w 235267"/>
                    <a:gd name="connsiteY15" fmla="*/ 200978 h 2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267" h="283845">
                      <a:moveTo>
                        <a:pt x="233363" y="201930"/>
                      </a:moveTo>
                      <a:cubicBezTo>
                        <a:pt x="233363" y="230505"/>
                        <a:pt x="233363" y="255270"/>
                        <a:pt x="235268" y="277178"/>
                      </a:cubicBezTo>
                      <a:lnTo>
                        <a:pt x="190500" y="277178"/>
                      </a:lnTo>
                      <a:lnTo>
                        <a:pt x="187643" y="232410"/>
                      </a:lnTo>
                      <a:lnTo>
                        <a:pt x="186690" y="232410"/>
                      </a:lnTo>
                      <a:cubicBezTo>
                        <a:pt x="174307" y="254317"/>
                        <a:pt x="144780" y="283845"/>
                        <a:pt x="95250" y="283845"/>
                      </a:cubicBezTo>
                      <a:cubicBezTo>
                        <a:pt x="45720" y="283845"/>
                        <a:pt x="0" y="259080"/>
                        <a:pt x="0" y="162878"/>
                      </a:cubicBezTo>
                      <a:lnTo>
                        <a:pt x="0" y="953"/>
                      </a:lnTo>
                      <a:lnTo>
                        <a:pt x="50482" y="953"/>
                      </a:lnTo>
                      <a:lnTo>
                        <a:pt x="50482" y="153353"/>
                      </a:lnTo>
                      <a:cubicBezTo>
                        <a:pt x="50482" y="205740"/>
                        <a:pt x="66675" y="241935"/>
                        <a:pt x="112395" y="241935"/>
                      </a:cubicBezTo>
                      <a:cubicBezTo>
                        <a:pt x="158115" y="241935"/>
                        <a:pt x="169545" y="218123"/>
                        <a:pt x="179070" y="195263"/>
                      </a:cubicBezTo>
                      <a:cubicBezTo>
                        <a:pt x="181928" y="188595"/>
                        <a:pt x="183832" y="179070"/>
                        <a:pt x="183832" y="169545"/>
                      </a:cubicBezTo>
                      <a:lnTo>
                        <a:pt x="183832" y="0"/>
                      </a:lnTo>
                      <a:lnTo>
                        <a:pt x="234315" y="0"/>
                      </a:lnTo>
                      <a:lnTo>
                        <a:pt x="234315" y="200978"/>
                      </a:lnTo>
                      <a:close/>
                    </a:path>
                  </a:pathLst>
                </a:custGeom>
                <a:solidFill>
                  <a:srgbClr val="1D1D1B"/>
                </a:solidFill>
                <a:ln w="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C65BB086-AD6C-DB93-183D-5FC869AE2C49}"/>
                    </a:ext>
                  </a:extLst>
                </p:cNvPr>
                <p:cNvSpPr/>
                <p:nvPr/>
              </p:nvSpPr>
              <p:spPr>
                <a:xfrm>
                  <a:off x="6363293" y="7974831"/>
                  <a:ext cx="238125" cy="283845"/>
                </a:xfrm>
                <a:custGeom>
                  <a:avLst/>
                  <a:gdLst>
                    <a:gd name="connsiteX0" fmla="*/ 1905 w 238125"/>
                    <a:gd name="connsiteY0" fmla="*/ 81915 h 283845"/>
                    <a:gd name="connsiteX1" fmla="*/ 0 w 238125"/>
                    <a:gd name="connsiteY1" fmla="*/ 6667 h 283845"/>
                    <a:gd name="connsiteX2" fmla="*/ 44767 w 238125"/>
                    <a:gd name="connsiteY2" fmla="*/ 6667 h 283845"/>
                    <a:gd name="connsiteX3" fmla="*/ 47625 w 238125"/>
                    <a:gd name="connsiteY3" fmla="*/ 51435 h 283845"/>
                    <a:gd name="connsiteX4" fmla="*/ 48578 w 238125"/>
                    <a:gd name="connsiteY4" fmla="*/ 51435 h 283845"/>
                    <a:gd name="connsiteX5" fmla="*/ 140017 w 238125"/>
                    <a:gd name="connsiteY5" fmla="*/ 0 h 283845"/>
                    <a:gd name="connsiteX6" fmla="*/ 238125 w 238125"/>
                    <a:gd name="connsiteY6" fmla="*/ 118110 h 283845"/>
                    <a:gd name="connsiteX7" fmla="*/ 238125 w 238125"/>
                    <a:gd name="connsiteY7" fmla="*/ 282892 h 283845"/>
                    <a:gd name="connsiteX8" fmla="*/ 187642 w 238125"/>
                    <a:gd name="connsiteY8" fmla="*/ 282892 h 283845"/>
                    <a:gd name="connsiteX9" fmla="*/ 187642 w 238125"/>
                    <a:gd name="connsiteY9" fmla="*/ 123825 h 283845"/>
                    <a:gd name="connsiteX10" fmla="*/ 123825 w 238125"/>
                    <a:gd name="connsiteY10" fmla="*/ 41910 h 283845"/>
                    <a:gd name="connsiteX11" fmla="*/ 56197 w 238125"/>
                    <a:gd name="connsiteY11" fmla="*/ 93345 h 283845"/>
                    <a:gd name="connsiteX12" fmla="*/ 52388 w 238125"/>
                    <a:gd name="connsiteY12" fmla="*/ 117158 h 283845"/>
                    <a:gd name="connsiteX13" fmla="*/ 52388 w 238125"/>
                    <a:gd name="connsiteY13" fmla="*/ 283845 h 283845"/>
                    <a:gd name="connsiteX14" fmla="*/ 1905 w 238125"/>
                    <a:gd name="connsiteY14" fmla="*/ 283845 h 283845"/>
                    <a:gd name="connsiteX15" fmla="*/ 1905 w 238125"/>
                    <a:gd name="connsiteY15" fmla="*/ 81915 h 2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125" h="283845">
                      <a:moveTo>
                        <a:pt x="1905" y="81915"/>
                      </a:moveTo>
                      <a:cubicBezTo>
                        <a:pt x="1905" y="52388"/>
                        <a:pt x="1905" y="29528"/>
                        <a:pt x="0" y="6667"/>
                      </a:cubicBezTo>
                      <a:lnTo>
                        <a:pt x="44767" y="6667"/>
                      </a:lnTo>
                      <a:lnTo>
                        <a:pt x="47625" y="51435"/>
                      </a:lnTo>
                      <a:lnTo>
                        <a:pt x="48578" y="51435"/>
                      </a:lnTo>
                      <a:cubicBezTo>
                        <a:pt x="61913" y="25717"/>
                        <a:pt x="94297" y="0"/>
                        <a:pt x="140017" y="0"/>
                      </a:cubicBezTo>
                      <a:cubicBezTo>
                        <a:pt x="185738" y="0"/>
                        <a:pt x="238125" y="22860"/>
                        <a:pt x="238125" y="118110"/>
                      </a:cubicBezTo>
                      <a:lnTo>
                        <a:pt x="238125" y="282892"/>
                      </a:lnTo>
                      <a:lnTo>
                        <a:pt x="187642" y="282892"/>
                      </a:lnTo>
                      <a:lnTo>
                        <a:pt x="187642" y="123825"/>
                      </a:lnTo>
                      <a:cubicBezTo>
                        <a:pt x="187642" y="79058"/>
                        <a:pt x="171450" y="41910"/>
                        <a:pt x="123825" y="41910"/>
                      </a:cubicBezTo>
                      <a:cubicBezTo>
                        <a:pt x="76200" y="41910"/>
                        <a:pt x="65722" y="65722"/>
                        <a:pt x="56197" y="93345"/>
                      </a:cubicBezTo>
                      <a:cubicBezTo>
                        <a:pt x="54292" y="100013"/>
                        <a:pt x="52388" y="108585"/>
                        <a:pt x="52388" y="117158"/>
                      </a:cubicBezTo>
                      <a:lnTo>
                        <a:pt x="52388" y="283845"/>
                      </a:lnTo>
                      <a:lnTo>
                        <a:pt x="1905" y="283845"/>
                      </a:lnTo>
                      <a:lnTo>
                        <a:pt x="1905" y="81915"/>
                      </a:lnTo>
                      <a:close/>
                    </a:path>
                  </a:pathLst>
                </a:custGeom>
                <a:solidFill>
                  <a:srgbClr val="1D1D1B"/>
                </a:solidFill>
                <a:ln w="0"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0B682991-D544-503D-FE5B-0E8E1A6DCD9F}"/>
                    </a:ext>
                  </a:extLst>
                </p:cNvPr>
                <p:cNvSpPr/>
                <p:nvPr/>
              </p:nvSpPr>
              <p:spPr>
                <a:xfrm>
                  <a:off x="6662378" y="7975784"/>
                  <a:ext cx="259080" cy="402907"/>
                </a:xfrm>
                <a:custGeom>
                  <a:avLst/>
                  <a:gdLst>
                    <a:gd name="connsiteX0" fmla="*/ 256223 w 259080"/>
                    <a:gd name="connsiteY0" fmla="*/ 242888 h 402907"/>
                    <a:gd name="connsiteX1" fmla="*/ 217170 w 259080"/>
                    <a:gd name="connsiteY1" fmla="*/ 369570 h 402907"/>
                    <a:gd name="connsiteX2" fmla="*/ 116205 w 259080"/>
                    <a:gd name="connsiteY2" fmla="*/ 402907 h 402907"/>
                    <a:gd name="connsiteX3" fmla="*/ 23813 w 259080"/>
                    <a:gd name="connsiteY3" fmla="*/ 380047 h 402907"/>
                    <a:gd name="connsiteX4" fmla="*/ 36195 w 259080"/>
                    <a:gd name="connsiteY4" fmla="*/ 340995 h 402907"/>
                    <a:gd name="connsiteX5" fmla="*/ 117157 w 259080"/>
                    <a:gd name="connsiteY5" fmla="*/ 362902 h 402907"/>
                    <a:gd name="connsiteX6" fmla="*/ 206693 w 259080"/>
                    <a:gd name="connsiteY6" fmla="*/ 265747 h 402907"/>
                    <a:gd name="connsiteX7" fmla="*/ 206693 w 259080"/>
                    <a:gd name="connsiteY7" fmla="*/ 235267 h 402907"/>
                    <a:gd name="connsiteX8" fmla="*/ 205740 w 259080"/>
                    <a:gd name="connsiteY8" fmla="*/ 235267 h 402907"/>
                    <a:gd name="connsiteX9" fmla="*/ 118110 w 259080"/>
                    <a:gd name="connsiteY9" fmla="*/ 281940 h 402907"/>
                    <a:gd name="connsiteX10" fmla="*/ 0 w 259080"/>
                    <a:gd name="connsiteY10" fmla="*/ 146685 h 402907"/>
                    <a:gd name="connsiteX11" fmla="*/ 124778 w 259080"/>
                    <a:gd name="connsiteY11" fmla="*/ 0 h 402907"/>
                    <a:gd name="connsiteX12" fmla="*/ 211455 w 259080"/>
                    <a:gd name="connsiteY12" fmla="*/ 47625 h 402907"/>
                    <a:gd name="connsiteX13" fmla="*/ 212407 w 259080"/>
                    <a:gd name="connsiteY13" fmla="*/ 47625 h 402907"/>
                    <a:gd name="connsiteX14" fmla="*/ 214313 w 259080"/>
                    <a:gd name="connsiteY14" fmla="*/ 6667 h 402907"/>
                    <a:gd name="connsiteX15" fmla="*/ 259080 w 259080"/>
                    <a:gd name="connsiteY15" fmla="*/ 6667 h 402907"/>
                    <a:gd name="connsiteX16" fmla="*/ 257175 w 259080"/>
                    <a:gd name="connsiteY16" fmla="*/ 81915 h 402907"/>
                    <a:gd name="connsiteX17" fmla="*/ 257175 w 259080"/>
                    <a:gd name="connsiteY17" fmla="*/ 242888 h 402907"/>
                    <a:gd name="connsiteX18" fmla="*/ 206693 w 259080"/>
                    <a:gd name="connsiteY18" fmla="*/ 115252 h 402907"/>
                    <a:gd name="connsiteX19" fmla="*/ 203835 w 259080"/>
                    <a:gd name="connsiteY19" fmla="*/ 93345 h 402907"/>
                    <a:gd name="connsiteX20" fmla="*/ 133350 w 259080"/>
                    <a:gd name="connsiteY20" fmla="*/ 40005 h 402907"/>
                    <a:gd name="connsiteX21" fmla="*/ 51435 w 259080"/>
                    <a:gd name="connsiteY21" fmla="*/ 144780 h 402907"/>
                    <a:gd name="connsiteX22" fmla="*/ 133350 w 259080"/>
                    <a:gd name="connsiteY22" fmla="*/ 243840 h 402907"/>
                    <a:gd name="connsiteX23" fmla="*/ 202882 w 259080"/>
                    <a:gd name="connsiteY23" fmla="*/ 191452 h 402907"/>
                    <a:gd name="connsiteX24" fmla="*/ 206693 w 259080"/>
                    <a:gd name="connsiteY24" fmla="*/ 164782 h 402907"/>
                    <a:gd name="connsiteX25" fmla="*/ 206693 w 259080"/>
                    <a:gd name="connsiteY25" fmla="*/ 115252 h 40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9080" h="402907">
                      <a:moveTo>
                        <a:pt x="256223" y="242888"/>
                      </a:moveTo>
                      <a:cubicBezTo>
                        <a:pt x="256223" y="306705"/>
                        <a:pt x="242888" y="344805"/>
                        <a:pt x="217170" y="369570"/>
                      </a:cubicBezTo>
                      <a:cubicBezTo>
                        <a:pt x="189547" y="394335"/>
                        <a:pt x="150495" y="402907"/>
                        <a:pt x="116205" y="402907"/>
                      </a:cubicBezTo>
                      <a:cubicBezTo>
                        <a:pt x="81915" y="402907"/>
                        <a:pt x="46672" y="395288"/>
                        <a:pt x="23813" y="380047"/>
                      </a:cubicBezTo>
                      <a:lnTo>
                        <a:pt x="36195" y="340995"/>
                      </a:lnTo>
                      <a:cubicBezTo>
                        <a:pt x="54293" y="353377"/>
                        <a:pt x="82868" y="362902"/>
                        <a:pt x="117157" y="362902"/>
                      </a:cubicBezTo>
                      <a:cubicBezTo>
                        <a:pt x="168593" y="362902"/>
                        <a:pt x="206693" y="336232"/>
                        <a:pt x="206693" y="265747"/>
                      </a:cubicBezTo>
                      <a:lnTo>
                        <a:pt x="206693" y="235267"/>
                      </a:lnTo>
                      <a:lnTo>
                        <a:pt x="205740" y="235267"/>
                      </a:lnTo>
                      <a:cubicBezTo>
                        <a:pt x="190500" y="260985"/>
                        <a:pt x="160972" y="281940"/>
                        <a:pt x="118110" y="281940"/>
                      </a:cubicBezTo>
                      <a:cubicBezTo>
                        <a:pt x="49530" y="281940"/>
                        <a:pt x="0" y="223838"/>
                        <a:pt x="0" y="146685"/>
                      </a:cubicBezTo>
                      <a:cubicBezTo>
                        <a:pt x="0" y="69532"/>
                        <a:pt x="60960" y="0"/>
                        <a:pt x="124778" y="0"/>
                      </a:cubicBezTo>
                      <a:cubicBezTo>
                        <a:pt x="188595" y="0"/>
                        <a:pt x="198120" y="24765"/>
                        <a:pt x="211455" y="47625"/>
                      </a:cubicBezTo>
                      <a:lnTo>
                        <a:pt x="212407" y="47625"/>
                      </a:lnTo>
                      <a:lnTo>
                        <a:pt x="214313" y="6667"/>
                      </a:lnTo>
                      <a:lnTo>
                        <a:pt x="259080" y="6667"/>
                      </a:lnTo>
                      <a:cubicBezTo>
                        <a:pt x="257175" y="25717"/>
                        <a:pt x="257175" y="48577"/>
                        <a:pt x="257175" y="81915"/>
                      </a:cubicBezTo>
                      <a:lnTo>
                        <a:pt x="257175" y="242888"/>
                      </a:lnTo>
                      <a:close/>
                      <a:moveTo>
                        <a:pt x="206693" y="115252"/>
                      </a:moveTo>
                      <a:cubicBezTo>
                        <a:pt x="206693" y="107632"/>
                        <a:pt x="206693" y="100013"/>
                        <a:pt x="203835" y="93345"/>
                      </a:cubicBezTo>
                      <a:cubicBezTo>
                        <a:pt x="194310" y="63817"/>
                        <a:pt x="170497" y="40005"/>
                        <a:pt x="133350" y="40005"/>
                      </a:cubicBezTo>
                      <a:cubicBezTo>
                        <a:pt x="96203" y="40005"/>
                        <a:pt x="51435" y="80963"/>
                        <a:pt x="51435" y="144780"/>
                      </a:cubicBezTo>
                      <a:cubicBezTo>
                        <a:pt x="51435" y="208597"/>
                        <a:pt x="79057" y="243840"/>
                        <a:pt x="133350" y="243840"/>
                      </a:cubicBezTo>
                      <a:cubicBezTo>
                        <a:pt x="187643" y="243840"/>
                        <a:pt x="192405" y="224790"/>
                        <a:pt x="202882" y="191452"/>
                      </a:cubicBezTo>
                      <a:cubicBezTo>
                        <a:pt x="205740" y="183832"/>
                        <a:pt x="206693" y="173355"/>
                        <a:pt x="206693" y="164782"/>
                      </a:cubicBezTo>
                      <a:lnTo>
                        <a:pt x="206693" y="115252"/>
                      </a:lnTo>
                      <a:close/>
                    </a:path>
                  </a:pathLst>
                </a:custGeom>
                <a:solidFill>
                  <a:srgbClr val="1D1D1B"/>
                </a:solidFill>
                <a:ln w="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1928E656-ACF0-54EF-796D-826B3FA3BB6D}"/>
                    </a:ext>
                  </a:extLst>
                </p:cNvPr>
                <p:cNvSpPr/>
                <p:nvPr/>
              </p:nvSpPr>
              <p:spPr>
                <a:xfrm>
                  <a:off x="2839995" y="9110211"/>
                  <a:ext cx="8572" cy="32384"/>
                </a:xfrm>
                <a:custGeom>
                  <a:avLst/>
                  <a:gdLst>
                    <a:gd name="connsiteX0" fmla="*/ 8573 w 8572"/>
                    <a:gd name="connsiteY0" fmla="*/ 31432 h 32384"/>
                    <a:gd name="connsiteX1" fmla="*/ 8573 w 8572"/>
                    <a:gd name="connsiteY1" fmla="*/ 0 h 32384"/>
                    <a:gd name="connsiteX2" fmla="*/ 0 w 8572"/>
                    <a:gd name="connsiteY2" fmla="*/ 30480 h 32384"/>
                    <a:gd name="connsiteX3" fmla="*/ 8573 w 8572"/>
                    <a:gd name="connsiteY3" fmla="*/ 32385 h 32384"/>
                    <a:gd name="connsiteX4" fmla="*/ 8573 w 8572"/>
                    <a:gd name="connsiteY4" fmla="*/ 32385 h 32384"/>
                    <a:gd name="connsiteX5" fmla="*/ 8573 w 8572"/>
                    <a:gd name="connsiteY5" fmla="*/ 31432 h 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 h="32384">
                      <a:moveTo>
                        <a:pt x="8573" y="31432"/>
                      </a:moveTo>
                      <a:lnTo>
                        <a:pt x="8573" y="0"/>
                      </a:lnTo>
                      <a:lnTo>
                        <a:pt x="0" y="30480"/>
                      </a:lnTo>
                      <a:lnTo>
                        <a:pt x="8573" y="32385"/>
                      </a:lnTo>
                      <a:lnTo>
                        <a:pt x="8573" y="32385"/>
                      </a:lnTo>
                      <a:lnTo>
                        <a:pt x="8573" y="31432"/>
                      </a:lnTo>
                      <a:close/>
                    </a:path>
                  </a:pathLst>
                </a:custGeom>
                <a:solidFill>
                  <a:srgbClr val="FFFFFF"/>
                </a:solidFill>
                <a:ln w="0"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46F9E3E0-98AF-12DD-E746-542FAF9B3D11}"/>
                    </a:ext>
                  </a:extLst>
                </p:cNvPr>
                <p:cNvSpPr/>
                <p:nvPr/>
              </p:nvSpPr>
              <p:spPr>
                <a:xfrm>
                  <a:off x="2848567" y="9094019"/>
                  <a:ext cx="1997392" cy="536257"/>
                </a:xfrm>
                <a:custGeom>
                  <a:avLst/>
                  <a:gdLst>
                    <a:gd name="connsiteX0" fmla="*/ 1997392 w 1997392"/>
                    <a:gd name="connsiteY0" fmla="*/ 150495 h 536257"/>
                    <a:gd name="connsiteX1" fmla="*/ 0 w 1997392"/>
                    <a:gd name="connsiteY1" fmla="*/ 0 h 536257"/>
                    <a:gd name="connsiteX2" fmla="*/ 0 w 1997392"/>
                    <a:gd name="connsiteY2" fmla="*/ 12382 h 536257"/>
                    <a:gd name="connsiteX3" fmla="*/ 0 w 1997392"/>
                    <a:gd name="connsiteY3" fmla="*/ 16193 h 536257"/>
                    <a:gd name="connsiteX4" fmla="*/ 0 w 1997392"/>
                    <a:gd name="connsiteY4" fmla="*/ 47625 h 536257"/>
                    <a:gd name="connsiteX5" fmla="*/ 0 w 1997392"/>
                    <a:gd name="connsiteY5" fmla="*/ 48578 h 536257"/>
                    <a:gd name="connsiteX6" fmla="*/ 0 w 1997392"/>
                    <a:gd name="connsiteY6" fmla="*/ 48578 h 536257"/>
                    <a:gd name="connsiteX7" fmla="*/ 1997392 w 1997392"/>
                    <a:gd name="connsiteY7" fmla="*/ 536257 h 536257"/>
                    <a:gd name="connsiteX8" fmla="*/ 1997392 w 1997392"/>
                    <a:gd name="connsiteY8" fmla="*/ 486728 h 536257"/>
                    <a:gd name="connsiteX9" fmla="*/ 595313 w 1997392"/>
                    <a:gd name="connsiteY9" fmla="*/ 144780 h 536257"/>
                    <a:gd name="connsiteX10" fmla="*/ 1997392 w 1997392"/>
                    <a:gd name="connsiteY10" fmla="*/ 372428 h 536257"/>
                    <a:gd name="connsiteX11" fmla="*/ 1997392 w 1997392"/>
                    <a:gd name="connsiteY11" fmla="*/ 324803 h 536257"/>
                    <a:gd name="connsiteX12" fmla="*/ 547688 w 1997392"/>
                    <a:gd name="connsiteY12" fmla="*/ 88582 h 536257"/>
                    <a:gd name="connsiteX13" fmla="*/ 1997392 w 1997392"/>
                    <a:gd name="connsiteY13" fmla="*/ 198120 h 536257"/>
                    <a:gd name="connsiteX14" fmla="*/ 1997392 w 1997392"/>
                    <a:gd name="connsiteY14" fmla="*/ 150495 h 53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7392" h="536257">
                      <a:moveTo>
                        <a:pt x="1997392" y="150495"/>
                      </a:moveTo>
                      <a:lnTo>
                        <a:pt x="0" y="0"/>
                      </a:lnTo>
                      <a:lnTo>
                        <a:pt x="0" y="12382"/>
                      </a:lnTo>
                      <a:lnTo>
                        <a:pt x="0" y="16193"/>
                      </a:lnTo>
                      <a:lnTo>
                        <a:pt x="0" y="47625"/>
                      </a:lnTo>
                      <a:lnTo>
                        <a:pt x="0" y="48578"/>
                      </a:lnTo>
                      <a:lnTo>
                        <a:pt x="0" y="48578"/>
                      </a:lnTo>
                      <a:lnTo>
                        <a:pt x="1997392" y="536257"/>
                      </a:lnTo>
                      <a:lnTo>
                        <a:pt x="1997392" y="486728"/>
                      </a:lnTo>
                      <a:lnTo>
                        <a:pt x="595313" y="144780"/>
                      </a:lnTo>
                      <a:lnTo>
                        <a:pt x="1997392" y="372428"/>
                      </a:lnTo>
                      <a:lnTo>
                        <a:pt x="1997392" y="324803"/>
                      </a:lnTo>
                      <a:lnTo>
                        <a:pt x="547688" y="88582"/>
                      </a:lnTo>
                      <a:lnTo>
                        <a:pt x="1997392" y="198120"/>
                      </a:lnTo>
                      <a:lnTo>
                        <a:pt x="1997392" y="150495"/>
                      </a:lnTo>
                      <a:close/>
                    </a:path>
                  </a:pathLst>
                </a:custGeom>
                <a:solidFill>
                  <a:srgbClr val="164194"/>
                </a:solidFill>
                <a:ln w="0"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3D455B0A-C872-F35D-2ECB-D406F4E53FE0}"/>
                    </a:ext>
                  </a:extLst>
                </p:cNvPr>
                <p:cNvSpPr/>
                <p:nvPr/>
              </p:nvSpPr>
              <p:spPr>
                <a:xfrm>
                  <a:off x="5193622" y="9240703"/>
                  <a:ext cx="242887" cy="391477"/>
                </a:xfrm>
                <a:custGeom>
                  <a:avLst/>
                  <a:gdLst>
                    <a:gd name="connsiteX0" fmla="*/ 953 w 242887"/>
                    <a:gd name="connsiteY0" fmla="*/ 8572 h 391477"/>
                    <a:gd name="connsiteX1" fmla="*/ 91440 w 242887"/>
                    <a:gd name="connsiteY1" fmla="*/ 0 h 391477"/>
                    <a:gd name="connsiteX2" fmla="*/ 196215 w 242887"/>
                    <a:gd name="connsiteY2" fmla="*/ 27622 h 391477"/>
                    <a:gd name="connsiteX3" fmla="*/ 228600 w 242887"/>
                    <a:gd name="connsiteY3" fmla="*/ 95250 h 391477"/>
                    <a:gd name="connsiteX4" fmla="*/ 163830 w 242887"/>
                    <a:gd name="connsiteY4" fmla="*/ 180022 h 391477"/>
                    <a:gd name="connsiteX5" fmla="*/ 163830 w 242887"/>
                    <a:gd name="connsiteY5" fmla="*/ 181928 h 391477"/>
                    <a:gd name="connsiteX6" fmla="*/ 242888 w 242887"/>
                    <a:gd name="connsiteY6" fmla="*/ 278130 h 391477"/>
                    <a:gd name="connsiteX7" fmla="*/ 209550 w 242887"/>
                    <a:gd name="connsiteY7" fmla="*/ 355283 h 391477"/>
                    <a:gd name="connsiteX8" fmla="*/ 77153 w 242887"/>
                    <a:gd name="connsiteY8" fmla="*/ 391478 h 391477"/>
                    <a:gd name="connsiteX9" fmla="*/ 0 w 242887"/>
                    <a:gd name="connsiteY9" fmla="*/ 386715 h 391477"/>
                    <a:gd name="connsiteX10" fmla="*/ 0 w 242887"/>
                    <a:gd name="connsiteY10" fmla="*/ 8572 h 391477"/>
                    <a:gd name="connsiteX11" fmla="*/ 50483 w 242887"/>
                    <a:gd name="connsiteY11" fmla="*/ 165735 h 391477"/>
                    <a:gd name="connsiteX12" fmla="*/ 95250 w 242887"/>
                    <a:gd name="connsiteY12" fmla="*/ 165735 h 391477"/>
                    <a:gd name="connsiteX13" fmla="*/ 178118 w 242887"/>
                    <a:gd name="connsiteY13" fmla="*/ 100965 h 391477"/>
                    <a:gd name="connsiteX14" fmla="*/ 94298 w 242887"/>
                    <a:gd name="connsiteY14" fmla="*/ 38100 h 391477"/>
                    <a:gd name="connsiteX15" fmla="*/ 50483 w 242887"/>
                    <a:gd name="connsiteY15" fmla="*/ 41910 h 391477"/>
                    <a:gd name="connsiteX16" fmla="*/ 50483 w 242887"/>
                    <a:gd name="connsiteY16" fmla="*/ 166688 h 391477"/>
                    <a:gd name="connsiteX17" fmla="*/ 50483 w 242887"/>
                    <a:gd name="connsiteY17" fmla="*/ 350520 h 391477"/>
                    <a:gd name="connsiteX18" fmla="*/ 92393 w 242887"/>
                    <a:gd name="connsiteY18" fmla="*/ 352425 h 391477"/>
                    <a:gd name="connsiteX19" fmla="*/ 191453 w 242887"/>
                    <a:gd name="connsiteY19" fmla="*/ 277178 h 391477"/>
                    <a:gd name="connsiteX20" fmla="*/ 92393 w 242887"/>
                    <a:gd name="connsiteY20" fmla="*/ 202883 h 391477"/>
                    <a:gd name="connsiteX21" fmla="*/ 51435 w 242887"/>
                    <a:gd name="connsiteY21" fmla="*/ 202883 h 391477"/>
                    <a:gd name="connsiteX22" fmla="*/ 51435 w 242887"/>
                    <a:gd name="connsiteY22" fmla="*/ 349568 h 39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2887" h="391477">
                      <a:moveTo>
                        <a:pt x="953" y="8572"/>
                      </a:moveTo>
                      <a:cubicBezTo>
                        <a:pt x="22860" y="3810"/>
                        <a:pt x="57150" y="0"/>
                        <a:pt x="91440" y="0"/>
                      </a:cubicBezTo>
                      <a:cubicBezTo>
                        <a:pt x="140970" y="0"/>
                        <a:pt x="173355" y="8572"/>
                        <a:pt x="196215" y="27622"/>
                      </a:cubicBezTo>
                      <a:cubicBezTo>
                        <a:pt x="216218" y="42863"/>
                        <a:pt x="228600" y="65722"/>
                        <a:pt x="228600" y="95250"/>
                      </a:cubicBezTo>
                      <a:cubicBezTo>
                        <a:pt x="228600" y="124778"/>
                        <a:pt x="203835" y="165735"/>
                        <a:pt x="163830" y="180022"/>
                      </a:cubicBezTo>
                      <a:lnTo>
                        <a:pt x="163830" y="181928"/>
                      </a:lnTo>
                      <a:cubicBezTo>
                        <a:pt x="200025" y="190500"/>
                        <a:pt x="242888" y="220980"/>
                        <a:pt x="242888" y="278130"/>
                      </a:cubicBezTo>
                      <a:cubicBezTo>
                        <a:pt x="242888" y="335280"/>
                        <a:pt x="229553" y="336233"/>
                        <a:pt x="209550" y="355283"/>
                      </a:cubicBezTo>
                      <a:cubicBezTo>
                        <a:pt x="182880" y="380047"/>
                        <a:pt x="140018" y="391478"/>
                        <a:pt x="77153" y="391478"/>
                      </a:cubicBezTo>
                      <a:cubicBezTo>
                        <a:pt x="14288" y="391478"/>
                        <a:pt x="16193" y="389572"/>
                        <a:pt x="0" y="386715"/>
                      </a:cubicBezTo>
                      <a:lnTo>
                        <a:pt x="0" y="8572"/>
                      </a:lnTo>
                      <a:close/>
                      <a:moveTo>
                        <a:pt x="50483" y="165735"/>
                      </a:moveTo>
                      <a:lnTo>
                        <a:pt x="95250" y="165735"/>
                      </a:lnTo>
                      <a:cubicBezTo>
                        <a:pt x="147638" y="165735"/>
                        <a:pt x="178118" y="138113"/>
                        <a:pt x="178118" y="100965"/>
                      </a:cubicBezTo>
                      <a:cubicBezTo>
                        <a:pt x="178118" y="63818"/>
                        <a:pt x="144780" y="38100"/>
                        <a:pt x="94298" y="38100"/>
                      </a:cubicBezTo>
                      <a:cubicBezTo>
                        <a:pt x="43815" y="38100"/>
                        <a:pt x="58103" y="40005"/>
                        <a:pt x="50483" y="41910"/>
                      </a:cubicBezTo>
                      <a:lnTo>
                        <a:pt x="50483" y="166688"/>
                      </a:lnTo>
                      <a:close/>
                      <a:moveTo>
                        <a:pt x="50483" y="350520"/>
                      </a:moveTo>
                      <a:cubicBezTo>
                        <a:pt x="60960" y="352425"/>
                        <a:pt x="74295" y="352425"/>
                        <a:pt x="92393" y="352425"/>
                      </a:cubicBezTo>
                      <a:cubicBezTo>
                        <a:pt x="143828" y="352425"/>
                        <a:pt x="191453" y="333375"/>
                        <a:pt x="191453" y="277178"/>
                      </a:cubicBezTo>
                      <a:cubicBezTo>
                        <a:pt x="191453" y="220980"/>
                        <a:pt x="146685" y="202883"/>
                        <a:pt x="92393" y="202883"/>
                      </a:cubicBezTo>
                      <a:lnTo>
                        <a:pt x="51435" y="202883"/>
                      </a:lnTo>
                      <a:lnTo>
                        <a:pt x="51435" y="349568"/>
                      </a:lnTo>
                      <a:close/>
                    </a:path>
                  </a:pathLst>
                </a:custGeom>
                <a:solidFill>
                  <a:srgbClr val="878787"/>
                </a:solidFill>
                <a:ln w="0"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46AC01AB-E47A-9E23-09CC-0101909C087D}"/>
                    </a:ext>
                  </a:extLst>
                </p:cNvPr>
                <p:cNvSpPr/>
                <p:nvPr/>
              </p:nvSpPr>
              <p:spPr>
                <a:xfrm>
                  <a:off x="5489850" y="9347384"/>
                  <a:ext cx="220980" cy="287654"/>
                </a:xfrm>
                <a:custGeom>
                  <a:avLst/>
                  <a:gdLst>
                    <a:gd name="connsiteX0" fmla="*/ 217170 w 220980"/>
                    <a:gd name="connsiteY0" fmla="*/ 215265 h 287654"/>
                    <a:gd name="connsiteX1" fmla="*/ 220980 w 220980"/>
                    <a:gd name="connsiteY1" fmla="*/ 281940 h 287654"/>
                    <a:gd name="connsiteX2" fmla="*/ 176213 w 220980"/>
                    <a:gd name="connsiteY2" fmla="*/ 281940 h 287654"/>
                    <a:gd name="connsiteX3" fmla="*/ 171450 w 220980"/>
                    <a:gd name="connsiteY3" fmla="*/ 246697 h 287654"/>
                    <a:gd name="connsiteX4" fmla="*/ 169545 w 220980"/>
                    <a:gd name="connsiteY4" fmla="*/ 246697 h 287654"/>
                    <a:gd name="connsiteX5" fmla="*/ 84772 w 220980"/>
                    <a:gd name="connsiteY5" fmla="*/ 287655 h 287654"/>
                    <a:gd name="connsiteX6" fmla="*/ 0 w 220980"/>
                    <a:gd name="connsiteY6" fmla="*/ 208597 h 287654"/>
                    <a:gd name="connsiteX7" fmla="*/ 166688 w 220980"/>
                    <a:gd name="connsiteY7" fmla="*/ 105728 h 287654"/>
                    <a:gd name="connsiteX8" fmla="*/ 166688 w 220980"/>
                    <a:gd name="connsiteY8" fmla="*/ 100013 h 287654"/>
                    <a:gd name="connsiteX9" fmla="*/ 103822 w 220980"/>
                    <a:gd name="connsiteY9" fmla="*/ 36195 h 287654"/>
                    <a:gd name="connsiteX10" fmla="*/ 31433 w 220980"/>
                    <a:gd name="connsiteY10" fmla="*/ 57150 h 287654"/>
                    <a:gd name="connsiteX11" fmla="*/ 20003 w 220980"/>
                    <a:gd name="connsiteY11" fmla="*/ 23813 h 287654"/>
                    <a:gd name="connsiteX12" fmla="*/ 111443 w 220980"/>
                    <a:gd name="connsiteY12" fmla="*/ 0 h 287654"/>
                    <a:gd name="connsiteX13" fmla="*/ 217170 w 220980"/>
                    <a:gd name="connsiteY13" fmla="*/ 113347 h 287654"/>
                    <a:gd name="connsiteX14" fmla="*/ 217170 w 220980"/>
                    <a:gd name="connsiteY14" fmla="*/ 217170 h 287654"/>
                    <a:gd name="connsiteX15" fmla="*/ 167640 w 220980"/>
                    <a:gd name="connsiteY15" fmla="*/ 140017 h 287654"/>
                    <a:gd name="connsiteX16" fmla="*/ 50483 w 220980"/>
                    <a:gd name="connsiteY16" fmla="*/ 201930 h 287654"/>
                    <a:gd name="connsiteX17" fmla="*/ 97155 w 220980"/>
                    <a:gd name="connsiteY17" fmla="*/ 249555 h 287654"/>
                    <a:gd name="connsiteX18" fmla="*/ 164783 w 220980"/>
                    <a:gd name="connsiteY18" fmla="*/ 202882 h 287654"/>
                    <a:gd name="connsiteX19" fmla="*/ 166688 w 220980"/>
                    <a:gd name="connsiteY19" fmla="*/ 186690 h 287654"/>
                    <a:gd name="connsiteX20" fmla="*/ 166688 w 220980"/>
                    <a:gd name="connsiteY20" fmla="*/ 139065 h 28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0980" h="287654">
                      <a:moveTo>
                        <a:pt x="217170" y="215265"/>
                      </a:moveTo>
                      <a:cubicBezTo>
                        <a:pt x="217170" y="239078"/>
                        <a:pt x="218122" y="262890"/>
                        <a:pt x="220980" y="281940"/>
                      </a:cubicBezTo>
                      <a:lnTo>
                        <a:pt x="176213" y="281940"/>
                      </a:lnTo>
                      <a:lnTo>
                        <a:pt x="171450" y="246697"/>
                      </a:lnTo>
                      <a:lnTo>
                        <a:pt x="169545" y="246697"/>
                      </a:lnTo>
                      <a:cubicBezTo>
                        <a:pt x="154305" y="268605"/>
                        <a:pt x="124778" y="287655"/>
                        <a:pt x="84772" y="287655"/>
                      </a:cubicBezTo>
                      <a:cubicBezTo>
                        <a:pt x="28575" y="287655"/>
                        <a:pt x="0" y="248603"/>
                        <a:pt x="0" y="208597"/>
                      </a:cubicBezTo>
                      <a:cubicBezTo>
                        <a:pt x="0" y="141922"/>
                        <a:pt x="59055" y="104775"/>
                        <a:pt x="166688" y="105728"/>
                      </a:cubicBezTo>
                      <a:lnTo>
                        <a:pt x="166688" y="100013"/>
                      </a:lnTo>
                      <a:cubicBezTo>
                        <a:pt x="166688" y="77153"/>
                        <a:pt x="160020" y="35242"/>
                        <a:pt x="103822" y="36195"/>
                      </a:cubicBezTo>
                      <a:cubicBezTo>
                        <a:pt x="77153" y="36195"/>
                        <a:pt x="50483" y="43815"/>
                        <a:pt x="31433" y="57150"/>
                      </a:cubicBezTo>
                      <a:lnTo>
                        <a:pt x="20003" y="23813"/>
                      </a:lnTo>
                      <a:cubicBezTo>
                        <a:pt x="42863" y="9525"/>
                        <a:pt x="76200" y="0"/>
                        <a:pt x="111443" y="0"/>
                      </a:cubicBezTo>
                      <a:cubicBezTo>
                        <a:pt x="196215" y="0"/>
                        <a:pt x="217170" y="58103"/>
                        <a:pt x="217170" y="113347"/>
                      </a:cubicBezTo>
                      <a:lnTo>
                        <a:pt x="217170" y="217170"/>
                      </a:lnTo>
                      <a:close/>
                      <a:moveTo>
                        <a:pt x="167640" y="140017"/>
                      </a:moveTo>
                      <a:cubicBezTo>
                        <a:pt x="112395" y="139065"/>
                        <a:pt x="50483" y="148590"/>
                        <a:pt x="50483" y="201930"/>
                      </a:cubicBezTo>
                      <a:cubicBezTo>
                        <a:pt x="50483" y="255270"/>
                        <a:pt x="72390" y="249555"/>
                        <a:pt x="97155" y="249555"/>
                      </a:cubicBezTo>
                      <a:cubicBezTo>
                        <a:pt x="133350" y="249555"/>
                        <a:pt x="157163" y="226695"/>
                        <a:pt x="164783" y="202882"/>
                      </a:cubicBezTo>
                      <a:cubicBezTo>
                        <a:pt x="166688" y="198120"/>
                        <a:pt x="166688" y="192405"/>
                        <a:pt x="166688" y="186690"/>
                      </a:cubicBezTo>
                      <a:lnTo>
                        <a:pt x="166688" y="139065"/>
                      </a:lnTo>
                      <a:close/>
                    </a:path>
                  </a:pathLst>
                </a:custGeom>
                <a:solidFill>
                  <a:srgbClr val="878787"/>
                </a:solidFill>
                <a:ln w="0"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0956A7FE-A226-4EED-86C6-F70357F0FD7D}"/>
                    </a:ext>
                  </a:extLst>
                </p:cNvPr>
                <p:cNvSpPr/>
                <p:nvPr/>
              </p:nvSpPr>
              <p:spPr>
                <a:xfrm>
                  <a:off x="5752740" y="9352146"/>
                  <a:ext cx="260984" cy="402907"/>
                </a:xfrm>
                <a:custGeom>
                  <a:avLst/>
                  <a:gdLst>
                    <a:gd name="connsiteX0" fmla="*/ 55245 w 260984"/>
                    <a:gd name="connsiteY0" fmla="*/ 0 h 402907"/>
                    <a:gd name="connsiteX1" fmla="*/ 115253 w 260984"/>
                    <a:gd name="connsiteY1" fmla="*/ 163830 h 402907"/>
                    <a:gd name="connsiteX2" fmla="*/ 133350 w 260984"/>
                    <a:gd name="connsiteY2" fmla="*/ 220028 h 402907"/>
                    <a:gd name="connsiteX3" fmla="*/ 134303 w 260984"/>
                    <a:gd name="connsiteY3" fmla="*/ 220028 h 402907"/>
                    <a:gd name="connsiteX4" fmla="*/ 152400 w 260984"/>
                    <a:gd name="connsiteY4" fmla="*/ 161925 h 402907"/>
                    <a:gd name="connsiteX5" fmla="*/ 207645 w 260984"/>
                    <a:gd name="connsiteY5" fmla="*/ 0 h 402907"/>
                    <a:gd name="connsiteX6" fmla="*/ 260985 w 260984"/>
                    <a:gd name="connsiteY6" fmla="*/ 0 h 402907"/>
                    <a:gd name="connsiteX7" fmla="*/ 185738 w 260984"/>
                    <a:gd name="connsiteY7" fmla="*/ 197167 h 402907"/>
                    <a:gd name="connsiteX8" fmla="*/ 90488 w 260984"/>
                    <a:gd name="connsiteY8" fmla="*/ 370522 h 402907"/>
                    <a:gd name="connsiteX9" fmla="*/ 28575 w 260984"/>
                    <a:gd name="connsiteY9" fmla="*/ 402907 h 402907"/>
                    <a:gd name="connsiteX10" fmla="*/ 16193 w 260984"/>
                    <a:gd name="connsiteY10" fmla="*/ 360997 h 402907"/>
                    <a:gd name="connsiteX11" fmla="*/ 60007 w 260984"/>
                    <a:gd name="connsiteY11" fmla="*/ 336232 h 402907"/>
                    <a:gd name="connsiteX12" fmla="*/ 101918 w 260984"/>
                    <a:gd name="connsiteY12" fmla="*/ 280035 h 402907"/>
                    <a:gd name="connsiteX13" fmla="*/ 105728 w 260984"/>
                    <a:gd name="connsiteY13" fmla="*/ 267653 h 402907"/>
                    <a:gd name="connsiteX14" fmla="*/ 101918 w 260984"/>
                    <a:gd name="connsiteY14" fmla="*/ 255270 h 402907"/>
                    <a:gd name="connsiteX15" fmla="*/ 0 w 260984"/>
                    <a:gd name="connsiteY15" fmla="*/ 0 h 402907"/>
                    <a:gd name="connsiteX16" fmla="*/ 55245 w 260984"/>
                    <a:gd name="connsiteY16" fmla="*/ 0 h 40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0984" h="402907">
                      <a:moveTo>
                        <a:pt x="55245" y="0"/>
                      </a:moveTo>
                      <a:lnTo>
                        <a:pt x="115253" y="163830"/>
                      </a:lnTo>
                      <a:cubicBezTo>
                        <a:pt x="121920" y="181928"/>
                        <a:pt x="128588" y="203835"/>
                        <a:pt x="133350" y="220028"/>
                      </a:cubicBezTo>
                      <a:lnTo>
                        <a:pt x="134303" y="220028"/>
                      </a:lnTo>
                      <a:cubicBezTo>
                        <a:pt x="139065" y="203835"/>
                        <a:pt x="144780" y="181928"/>
                        <a:pt x="152400" y="161925"/>
                      </a:cubicBezTo>
                      <a:lnTo>
                        <a:pt x="207645" y="0"/>
                      </a:lnTo>
                      <a:lnTo>
                        <a:pt x="260985" y="0"/>
                      </a:lnTo>
                      <a:lnTo>
                        <a:pt x="185738" y="197167"/>
                      </a:lnTo>
                      <a:cubicBezTo>
                        <a:pt x="149543" y="292417"/>
                        <a:pt x="124778" y="340995"/>
                        <a:pt x="90488" y="370522"/>
                      </a:cubicBezTo>
                      <a:cubicBezTo>
                        <a:pt x="65722" y="391478"/>
                        <a:pt x="40957" y="400050"/>
                        <a:pt x="28575" y="402907"/>
                      </a:cubicBezTo>
                      <a:lnTo>
                        <a:pt x="16193" y="360997"/>
                      </a:lnTo>
                      <a:cubicBezTo>
                        <a:pt x="28575" y="357188"/>
                        <a:pt x="45720" y="349567"/>
                        <a:pt x="60007" y="336232"/>
                      </a:cubicBezTo>
                      <a:cubicBezTo>
                        <a:pt x="73343" y="325755"/>
                        <a:pt x="90488" y="305753"/>
                        <a:pt x="101918" y="280035"/>
                      </a:cubicBezTo>
                      <a:cubicBezTo>
                        <a:pt x="103822" y="275272"/>
                        <a:pt x="105728" y="271463"/>
                        <a:pt x="105728" y="267653"/>
                      </a:cubicBezTo>
                      <a:cubicBezTo>
                        <a:pt x="105728" y="263842"/>
                        <a:pt x="104775" y="260985"/>
                        <a:pt x="101918" y="255270"/>
                      </a:cubicBezTo>
                      <a:lnTo>
                        <a:pt x="0" y="0"/>
                      </a:lnTo>
                      <a:lnTo>
                        <a:pt x="55245" y="0"/>
                      </a:lnTo>
                      <a:close/>
                    </a:path>
                  </a:pathLst>
                </a:custGeom>
                <a:solidFill>
                  <a:srgbClr val="878787"/>
                </a:solidFill>
                <a:ln w="0"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AAA569DC-1D71-FC3F-F406-77396F7A60B8}"/>
                    </a:ext>
                  </a:extLst>
                </p:cNvPr>
                <p:cNvSpPr/>
                <p:nvPr/>
              </p:nvSpPr>
              <p:spPr>
                <a:xfrm>
                  <a:off x="6041347" y="9346431"/>
                  <a:ext cx="243840" cy="288607"/>
                </a:xfrm>
                <a:custGeom>
                  <a:avLst/>
                  <a:gdLst>
                    <a:gd name="connsiteX0" fmla="*/ 48578 w 243840"/>
                    <a:gd name="connsiteY0" fmla="*/ 152400 h 288607"/>
                    <a:gd name="connsiteX1" fmla="*/ 142875 w 243840"/>
                    <a:gd name="connsiteY1" fmla="*/ 248603 h 288607"/>
                    <a:gd name="connsiteX2" fmla="*/ 219075 w 243840"/>
                    <a:gd name="connsiteY2" fmla="*/ 235268 h 288607"/>
                    <a:gd name="connsiteX3" fmla="*/ 228600 w 243840"/>
                    <a:gd name="connsiteY3" fmla="*/ 270510 h 288607"/>
                    <a:gd name="connsiteX4" fmla="*/ 136208 w 243840"/>
                    <a:gd name="connsiteY4" fmla="*/ 288607 h 288607"/>
                    <a:gd name="connsiteX5" fmla="*/ 0 w 243840"/>
                    <a:gd name="connsiteY5" fmla="*/ 149543 h 288607"/>
                    <a:gd name="connsiteX6" fmla="*/ 130493 w 243840"/>
                    <a:gd name="connsiteY6" fmla="*/ 0 h 288607"/>
                    <a:gd name="connsiteX7" fmla="*/ 243840 w 243840"/>
                    <a:gd name="connsiteY7" fmla="*/ 130493 h 288607"/>
                    <a:gd name="connsiteX8" fmla="*/ 241935 w 243840"/>
                    <a:gd name="connsiteY8" fmla="*/ 154305 h 288607"/>
                    <a:gd name="connsiteX9" fmla="*/ 48578 w 243840"/>
                    <a:gd name="connsiteY9" fmla="*/ 154305 h 288607"/>
                    <a:gd name="connsiteX10" fmla="*/ 196215 w 243840"/>
                    <a:gd name="connsiteY10" fmla="*/ 116205 h 288607"/>
                    <a:gd name="connsiteX11" fmla="*/ 126683 w 243840"/>
                    <a:gd name="connsiteY11" fmla="*/ 34290 h 288607"/>
                    <a:gd name="connsiteX12" fmla="*/ 49530 w 243840"/>
                    <a:gd name="connsiteY12" fmla="*/ 116205 h 288607"/>
                    <a:gd name="connsiteX13" fmla="*/ 196215 w 243840"/>
                    <a:gd name="connsiteY13" fmla="*/ 116205 h 28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840" h="288607">
                      <a:moveTo>
                        <a:pt x="48578" y="152400"/>
                      </a:moveTo>
                      <a:cubicBezTo>
                        <a:pt x="49530" y="220028"/>
                        <a:pt x="92393" y="248603"/>
                        <a:pt x="142875" y="248603"/>
                      </a:cubicBezTo>
                      <a:cubicBezTo>
                        <a:pt x="193358" y="248603"/>
                        <a:pt x="200978" y="241935"/>
                        <a:pt x="219075" y="235268"/>
                      </a:cubicBezTo>
                      <a:lnTo>
                        <a:pt x="228600" y="270510"/>
                      </a:lnTo>
                      <a:cubicBezTo>
                        <a:pt x="210503" y="278130"/>
                        <a:pt x="180023" y="288607"/>
                        <a:pt x="136208" y="288607"/>
                      </a:cubicBezTo>
                      <a:cubicBezTo>
                        <a:pt x="51435" y="288607"/>
                        <a:pt x="0" y="232410"/>
                        <a:pt x="0" y="149543"/>
                      </a:cubicBezTo>
                      <a:cubicBezTo>
                        <a:pt x="0" y="66675"/>
                        <a:pt x="49530" y="0"/>
                        <a:pt x="130493" y="0"/>
                      </a:cubicBezTo>
                      <a:cubicBezTo>
                        <a:pt x="211455" y="0"/>
                        <a:pt x="243840" y="79057"/>
                        <a:pt x="243840" y="130493"/>
                      </a:cubicBezTo>
                      <a:cubicBezTo>
                        <a:pt x="243840" y="181928"/>
                        <a:pt x="243840" y="148590"/>
                        <a:pt x="241935" y="154305"/>
                      </a:cubicBezTo>
                      <a:lnTo>
                        <a:pt x="48578" y="154305"/>
                      </a:lnTo>
                      <a:close/>
                      <a:moveTo>
                        <a:pt x="196215" y="116205"/>
                      </a:moveTo>
                      <a:cubicBezTo>
                        <a:pt x="196215" y="84772"/>
                        <a:pt x="182880" y="34290"/>
                        <a:pt x="126683" y="34290"/>
                      </a:cubicBezTo>
                      <a:cubicBezTo>
                        <a:pt x="70485" y="34290"/>
                        <a:pt x="53340" y="80963"/>
                        <a:pt x="49530" y="116205"/>
                      </a:cubicBezTo>
                      <a:lnTo>
                        <a:pt x="196215" y="116205"/>
                      </a:lnTo>
                      <a:close/>
                    </a:path>
                  </a:pathLst>
                </a:custGeom>
                <a:solidFill>
                  <a:srgbClr val="878787"/>
                </a:solidFill>
                <a:ln w="0"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9C7B7DEF-80B5-A843-CF6A-1413CC896998}"/>
                    </a:ext>
                  </a:extLst>
                </p:cNvPr>
                <p:cNvSpPr/>
                <p:nvPr/>
              </p:nvSpPr>
              <p:spPr>
                <a:xfrm>
                  <a:off x="6355672" y="9344526"/>
                  <a:ext cx="142822" cy="282892"/>
                </a:xfrm>
                <a:custGeom>
                  <a:avLst/>
                  <a:gdLst>
                    <a:gd name="connsiteX0" fmla="*/ 1905 w 142822"/>
                    <a:gd name="connsiteY0" fmla="*/ 93345 h 282892"/>
                    <a:gd name="connsiteX1" fmla="*/ 0 w 142822"/>
                    <a:gd name="connsiteY1" fmla="*/ 6668 h 282892"/>
                    <a:gd name="connsiteX2" fmla="*/ 43815 w 142822"/>
                    <a:gd name="connsiteY2" fmla="*/ 6668 h 282892"/>
                    <a:gd name="connsiteX3" fmla="*/ 45720 w 142822"/>
                    <a:gd name="connsiteY3" fmla="*/ 60960 h 282892"/>
                    <a:gd name="connsiteX4" fmla="*/ 47625 w 142822"/>
                    <a:gd name="connsiteY4" fmla="*/ 60960 h 282892"/>
                    <a:gd name="connsiteX5" fmla="*/ 124778 w 142822"/>
                    <a:gd name="connsiteY5" fmla="*/ 0 h 282892"/>
                    <a:gd name="connsiteX6" fmla="*/ 138113 w 142822"/>
                    <a:gd name="connsiteY6" fmla="*/ 1905 h 282892"/>
                    <a:gd name="connsiteX7" fmla="*/ 138113 w 142822"/>
                    <a:gd name="connsiteY7" fmla="*/ 48578 h 282892"/>
                    <a:gd name="connsiteX8" fmla="*/ 120015 w 142822"/>
                    <a:gd name="connsiteY8" fmla="*/ 47625 h 282892"/>
                    <a:gd name="connsiteX9" fmla="*/ 52388 w 142822"/>
                    <a:gd name="connsiteY9" fmla="*/ 111443 h 282892"/>
                    <a:gd name="connsiteX10" fmla="*/ 50483 w 142822"/>
                    <a:gd name="connsiteY10" fmla="*/ 135255 h 282892"/>
                    <a:gd name="connsiteX11" fmla="*/ 50483 w 142822"/>
                    <a:gd name="connsiteY11" fmla="*/ 282893 h 282892"/>
                    <a:gd name="connsiteX12" fmla="*/ 0 w 142822"/>
                    <a:gd name="connsiteY12" fmla="*/ 282893 h 282892"/>
                    <a:gd name="connsiteX13" fmla="*/ 0 w 142822"/>
                    <a:gd name="connsiteY13" fmla="*/ 92393 h 28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822" h="282892">
                      <a:moveTo>
                        <a:pt x="1905" y="93345"/>
                      </a:moveTo>
                      <a:cubicBezTo>
                        <a:pt x="1905" y="60960"/>
                        <a:pt x="1905" y="32385"/>
                        <a:pt x="0" y="6668"/>
                      </a:cubicBezTo>
                      <a:lnTo>
                        <a:pt x="43815" y="6668"/>
                      </a:lnTo>
                      <a:lnTo>
                        <a:pt x="45720" y="60960"/>
                      </a:lnTo>
                      <a:lnTo>
                        <a:pt x="47625" y="60960"/>
                      </a:lnTo>
                      <a:cubicBezTo>
                        <a:pt x="60008" y="23813"/>
                        <a:pt x="91440" y="0"/>
                        <a:pt x="124778" y="0"/>
                      </a:cubicBezTo>
                      <a:cubicBezTo>
                        <a:pt x="158115" y="0"/>
                        <a:pt x="134303" y="0"/>
                        <a:pt x="138113" y="1905"/>
                      </a:cubicBezTo>
                      <a:lnTo>
                        <a:pt x="138113" y="48578"/>
                      </a:lnTo>
                      <a:cubicBezTo>
                        <a:pt x="132398" y="48578"/>
                        <a:pt x="127635" y="47625"/>
                        <a:pt x="120015" y="47625"/>
                      </a:cubicBezTo>
                      <a:cubicBezTo>
                        <a:pt x="84773" y="47625"/>
                        <a:pt x="59055" y="74295"/>
                        <a:pt x="52388" y="111443"/>
                      </a:cubicBezTo>
                      <a:cubicBezTo>
                        <a:pt x="51435" y="119063"/>
                        <a:pt x="50483" y="126683"/>
                        <a:pt x="50483" y="135255"/>
                      </a:cubicBezTo>
                      <a:lnTo>
                        <a:pt x="50483" y="282893"/>
                      </a:lnTo>
                      <a:lnTo>
                        <a:pt x="0" y="282893"/>
                      </a:lnTo>
                      <a:lnTo>
                        <a:pt x="0" y="92393"/>
                      </a:lnTo>
                      <a:close/>
                    </a:path>
                  </a:pathLst>
                </a:custGeom>
                <a:solidFill>
                  <a:srgbClr val="878787"/>
                </a:solidFill>
                <a:ln w="0"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27BAD151-C72F-4EE1-FA8F-7C0E1865BDBC}"/>
                    </a:ext>
                  </a:extLst>
                </p:cNvPr>
                <p:cNvSpPr/>
                <p:nvPr/>
              </p:nvSpPr>
              <p:spPr>
                <a:xfrm>
                  <a:off x="6552840" y="9344526"/>
                  <a:ext cx="238125" cy="283845"/>
                </a:xfrm>
                <a:custGeom>
                  <a:avLst/>
                  <a:gdLst>
                    <a:gd name="connsiteX0" fmla="*/ 1905 w 238125"/>
                    <a:gd name="connsiteY0" fmla="*/ 81915 h 283845"/>
                    <a:gd name="connsiteX1" fmla="*/ 0 w 238125"/>
                    <a:gd name="connsiteY1" fmla="*/ 6668 h 283845"/>
                    <a:gd name="connsiteX2" fmla="*/ 44768 w 238125"/>
                    <a:gd name="connsiteY2" fmla="*/ 6668 h 283845"/>
                    <a:gd name="connsiteX3" fmla="*/ 47625 w 238125"/>
                    <a:gd name="connsiteY3" fmla="*/ 51435 h 283845"/>
                    <a:gd name="connsiteX4" fmla="*/ 48578 w 238125"/>
                    <a:gd name="connsiteY4" fmla="*/ 51435 h 283845"/>
                    <a:gd name="connsiteX5" fmla="*/ 140018 w 238125"/>
                    <a:gd name="connsiteY5" fmla="*/ 0 h 283845"/>
                    <a:gd name="connsiteX6" fmla="*/ 238125 w 238125"/>
                    <a:gd name="connsiteY6" fmla="*/ 118110 h 283845"/>
                    <a:gd name="connsiteX7" fmla="*/ 238125 w 238125"/>
                    <a:gd name="connsiteY7" fmla="*/ 282893 h 283845"/>
                    <a:gd name="connsiteX8" fmla="*/ 187643 w 238125"/>
                    <a:gd name="connsiteY8" fmla="*/ 282893 h 283845"/>
                    <a:gd name="connsiteX9" fmla="*/ 187643 w 238125"/>
                    <a:gd name="connsiteY9" fmla="*/ 123825 h 283845"/>
                    <a:gd name="connsiteX10" fmla="*/ 123825 w 238125"/>
                    <a:gd name="connsiteY10" fmla="*/ 41910 h 283845"/>
                    <a:gd name="connsiteX11" fmla="*/ 56197 w 238125"/>
                    <a:gd name="connsiteY11" fmla="*/ 93345 h 283845"/>
                    <a:gd name="connsiteX12" fmla="*/ 52388 w 238125"/>
                    <a:gd name="connsiteY12" fmla="*/ 117158 h 283845"/>
                    <a:gd name="connsiteX13" fmla="*/ 52388 w 238125"/>
                    <a:gd name="connsiteY13" fmla="*/ 283845 h 283845"/>
                    <a:gd name="connsiteX14" fmla="*/ 1905 w 238125"/>
                    <a:gd name="connsiteY14" fmla="*/ 283845 h 283845"/>
                    <a:gd name="connsiteX15" fmla="*/ 1905 w 238125"/>
                    <a:gd name="connsiteY15" fmla="*/ 81915 h 2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125" h="283845">
                      <a:moveTo>
                        <a:pt x="1905" y="81915"/>
                      </a:moveTo>
                      <a:cubicBezTo>
                        <a:pt x="1905" y="52388"/>
                        <a:pt x="1905" y="29528"/>
                        <a:pt x="0" y="6668"/>
                      </a:cubicBezTo>
                      <a:lnTo>
                        <a:pt x="44768" y="6668"/>
                      </a:lnTo>
                      <a:lnTo>
                        <a:pt x="47625" y="51435"/>
                      </a:lnTo>
                      <a:lnTo>
                        <a:pt x="48578" y="51435"/>
                      </a:lnTo>
                      <a:cubicBezTo>
                        <a:pt x="61913" y="25718"/>
                        <a:pt x="94297" y="0"/>
                        <a:pt x="140018" y="0"/>
                      </a:cubicBezTo>
                      <a:cubicBezTo>
                        <a:pt x="185738" y="0"/>
                        <a:pt x="238125" y="22860"/>
                        <a:pt x="238125" y="118110"/>
                      </a:cubicBezTo>
                      <a:lnTo>
                        <a:pt x="238125" y="282893"/>
                      </a:lnTo>
                      <a:lnTo>
                        <a:pt x="187643" y="282893"/>
                      </a:lnTo>
                      <a:lnTo>
                        <a:pt x="187643" y="123825"/>
                      </a:lnTo>
                      <a:cubicBezTo>
                        <a:pt x="187643" y="79058"/>
                        <a:pt x="171450" y="41910"/>
                        <a:pt x="123825" y="41910"/>
                      </a:cubicBezTo>
                      <a:cubicBezTo>
                        <a:pt x="76200" y="41910"/>
                        <a:pt x="65722" y="65723"/>
                        <a:pt x="56197" y="93345"/>
                      </a:cubicBezTo>
                      <a:cubicBezTo>
                        <a:pt x="54293" y="100013"/>
                        <a:pt x="52388" y="108585"/>
                        <a:pt x="52388" y="117158"/>
                      </a:cubicBezTo>
                      <a:lnTo>
                        <a:pt x="52388" y="283845"/>
                      </a:lnTo>
                      <a:lnTo>
                        <a:pt x="1905" y="283845"/>
                      </a:lnTo>
                      <a:lnTo>
                        <a:pt x="1905" y="81915"/>
                      </a:lnTo>
                      <a:close/>
                    </a:path>
                  </a:pathLst>
                </a:custGeom>
                <a:solidFill>
                  <a:srgbClr val="878787"/>
                </a:solidFill>
                <a:ln w="0"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9106CDB5-E402-7947-4BE1-8D3E42665D93}"/>
                    </a:ext>
                  </a:extLst>
                </p:cNvPr>
                <p:cNvSpPr/>
                <p:nvPr/>
              </p:nvSpPr>
              <p:spPr>
                <a:xfrm>
                  <a:off x="9133163" y="8322494"/>
                  <a:ext cx="7619" cy="33337"/>
                </a:xfrm>
                <a:custGeom>
                  <a:avLst/>
                  <a:gdLst>
                    <a:gd name="connsiteX0" fmla="*/ 0 w 7619"/>
                    <a:gd name="connsiteY0" fmla="*/ 0 h 33337"/>
                    <a:gd name="connsiteX1" fmla="*/ 0 w 7619"/>
                    <a:gd name="connsiteY1" fmla="*/ 953 h 33337"/>
                    <a:gd name="connsiteX2" fmla="*/ 0 w 7619"/>
                    <a:gd name="connsiteY2" fmla="*/ 953 h 33337"/>
                    <a:gd name="connsiteX3" fmla="*/ 0 w 7619"/>
                    <a:gd name="connsiteY3" fmla="*/ 33338 h 33337"/>
                    <a:gd name="connsiteX4" fmla="*/ 1905 w 7619"/>
                    <a:gd name="connsiteY4" fmla="*/ 25717 h 33337"/>
                    <a:gd name="connsiteX5" fmla="*/ 1905 w 7619"/>
                    <a:gd name="connsiteY5" fmla="*/ 25717 h 33337"/>
                    <a:gd name="connsiteX6" fmla="*/ 7620 w 7619"/>
                    <a:gd name="connsiteY6" fmla="*/ 1905 h 33337"/>
                    <a:gd name="connsiteX7" fmla="*/ 0 w 7619"/>
                    <a:gd name="connsiteY7" fmla="*/ 0 h 3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9" h="33337">
                      <a:moveTo>
                        <a:pt x="0" y="0"/>
                      </a:moveTo>
                      <a:lnTo>
                        <a:pt x="0" y="953"/>
                      </a:lnTo>
                      <a:lnTo>
                        <a:pt x="0" y="953"/>
                      </a:lnTo>
                      <a:lnTo>
                        <a:pt x="0" y="33338"/>
                      </a:lnTo>
                      <a:lnTo>
                        <a:pt x="1905" y="25717"/>
                      </a:lnTo>
                      <a:lnTo>
                        <a:pt x="1905" y="25717"/>
                      </a:lnTo>
                      <a:lnTo>
                        <a:pt x="7620" y="1905"/>
                      </a:lnTo>
                      <a:lnTo>
                        <a:pt x="0" y="0"/>
                      </a:lnTo>
                      <a:close/>
                    </a:path>
                  </a:pathLst>
                </a:custGeom>
                <a:solidFill>
                  <a:srgbClr val="FFFFFF"/>
                </a:solidFill>
                <a:ln w="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3D4A031A-89EB-B584-B8D5-7F574B26459E}"/>
                    </a:ext>
                  </a:extLst>
                </p:cNvPr>
                <p:cNvSpPr/>
                <p:nvPr/>
              </p:nvSpPr>
              <p:spPr>
                <a:xfrm>
                  <a:off x="7271978" y="7859578"/>
                  <a:ext cx="1861185" cy="511492"/>
                </a:xfrm>
                <a:custGeom>
                  <a:avLst/>
                  <a:gdLst>
                    <a:gd name="connsiteX0" fmla="*/ 1861185 w 1861185"/>
                    <a:gd name="connsiteY0" fmla="*/ 463868 h 511492"/>
                    <a:gd name="connsiteX1" fmla="*/ 1861185 w 1861185"/>
                    <a:gd name="connsiteY1" fmla="*/ 462915 h 511492"/>
                    <a:gd name="connsiteX2" fmla="*/ 0 w 1861185"/>
                    <a:gd name="connsiteY2" fmla="*/ 0 h 511492"/>
                    <a:gd name="connsiteX3" fmla="*/ 0 w 1861185"/>
                    <a:gd name="connsiteY3" fmla="*/ 48578 h 511492"/>
                    <a:gd name="connsiteX4" fmla="*/ 1277302 w 1861185"/>
                    <a:gd name="connsiteY4" fmla="*/ 366713 h 511492"/>
                    <a:gd name="connsiteX5" fmla="*/ 0 w 1861185"/>
                    <a:gd name="connsiteY5" fmla="*/ 155258 h 511492"/>
                    <a:gd name="connsiteX6" fmla="*/ 0 w 1861185"/>
                    <a:gd name="connsiteY6" fmla="*/ 202883 h 511492"/>
                    <a:gd name="connsiteX7" fmla="*/ 1323975 w 1861185"/>
                    <a:gd name="connsiteY7" fmla="*/ 422910 h 511492"/>
                    <a:gd name="connsiteX8" fmla="*/ 0 w 1861185"/>
                    <a:gd name="connsiteY8" fmla="*/ 320993 h 511492"/>
                    <a:gd name="connsiteX9" fmla="*/ 0 w 1861185"/>
                    <a:gd name="connsiteY9" fmla="*/ 368618 h 511492"/>
                    <a:gd name="connsiteX10" fmla="*/ 1861185 w 1861185"/>
                    <a:gd name="connsiteY10" fmla="*/ 511493 h 511492"/>
                    <a:gd name="connsiteX11" fmla="*/ 1861185 w 1861185"/>
                    <a:gd name="connsiteY11" fmla="*/ 500063 h 511492"/>
                    <a:gd name="connsiteX12" fmla="*/ 1861185 w 1861185"/>
                    <a:gd name="connsiteY12" fmla="*/ 496253 h 511492"/>
                    <a:gd name="connsiteX13" fmla="*/ 1861185 w 1861185"/>
                    <a:gd name="connsiteY13" fmla="*/ 463868 h 511492"/>
                    <a:gd name="connsiteX14" fmla="*/ 1861185 w 1861185"/>
                    <a:gd name="connsiteY14" fmla="*/ 463868 h 51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1185" h="511492">
                      <a:moveTo>
                        <a:pt x="1861185" y="463868"/>
                      </a:moveTo>
                      <a:lnTo>
                        <a:pt x="1861185" y="462915"/>
                      </a:lnTo>
                      <a:lnTo>
                        <a:pt x="0" y="0"/>
                      </a:lnTo>
                      <a:lnTo>
                        <a:pt x="0" y="48578"/>
                      </a:lnTo>
                      <a:lnTo>
                        <a:pt x="1277302" y="366713"/>
                      </a:lnTo>
                      <a:lnTo>
                        <a:pt x="0" y="155258"/>
                      </a:lnTo>
                      <a:lnTo>
                        <a:pt x="0" y="202883"/>
                      </a:lnTo>
                      <a:lnTo>
                        <a:pt x="1323975" y="422910"/>
                      </a:lnTo>
                      <a:lnTo>
                        <a:pt x="0" y="320993"/>
                      </a:lnTo>
                      <a:lnTo>
                        <a:pt x="0" y="368618"/>
                      </a:lnTo>
                      <a:lnTo>
                        <a:pt x="1861185" y="511493"/>
                      </a:lnTo>
                      <a:lnTo>
                        <a:pt x="1861185" y="500063"/>
                      </a:lnTo>
                      <a:lnTo>
                        <a:pt x="1861185" y="496253"/>
                      </a:lnTo>
                      <a:lnTo>
                        <a:pt x="1861185" y="463868"/>
                      </a:lnTo>
                      <a:lnTo>
                        <a:pt x="1861185" y="463868"/>
                      </a:lnTo>
                      <a:close/>
                    </a:path>
                  </a:pathLst>
                </a:custGeom>
                <a:solidFill>
                  <a:srgbClr val="164194"/>
                </a:solidFill>
                <a:ln w="0" cap="flat">
                  <a:noFill/>
                  <a:prstDash val="solid"/>
                  <a:miter/>
                </a:ln>
              </p:spPr>
              <p:txBody>
                <a:bodyPr rtlCol="0" anchor="ctr"/>
                <a:lstStyle/>
                <a:p>
                  <a:endParaRPr lang="de-DE"/>
                </a:p>
              </p:txBody>
            </p:sp>
          </p:grpSp>
          <p:grpSp>
            <p:nvGrpSpPr>
              <p:cNvPr id="9" name="Grafik 13">
                <a:extLst>
                  <a:ext uri="{FF2B5EF4-FFF2-40B4-BE49-F238E27FC236}">
                    <a16:creationId xmlns:a16="http://schemas.microsoft.com/office/drawing/2014/main" id="{FEF0CFD5-BAE6-8137-56A9-F580FFA307C1}"/>
                  </a:ext>
                </a:extLst>
              </p:cNvPr>
              <p:cNvGrpSpPr/>
              <p:nvPr/>
            </p:nvGrpSpPr>
            <p:grpSpPr>
              <a:xfrm>
                <a:off x="3924893" y="7869103"/>
                <a:ext cx="962977" cy="391477"/>
                <a:chOff x="3924893" y="7869103"/>
                <a:chExt cx="962977" cy="391477"/>
              </a:xfrm>
              <a:solidFill>
                <a:srgbClr val="1D1D1B"/>
              </a:solidFill>
            </p:grpSpPr>
            <p:sp>
              <p:nvSpPr>
                <p:cNvPr id="10" name="Freihandform: Form 9">
                  <a:extLst>
                    <a:ext uri="{FF2B5EF4-FFF2-40B4-BE49-F238E27FC236}">
                      <a16:creationId xmlns:a16="http://schemas.microsoft.com/office/drawing/2014/main" id="{4AE536C9-7B7E-B614-9A3E-9D4FBBF3B73A}"/>
                    </a:ext>
                  </a:extLst>
                </p:cNvPr>
                <p:cNvSpPr/>
                <p:nvPr/>
              </p:nvSpPr>
              <p:spPr>
                <a:xfrm>
                  <a:off x="3924893" y="7869103"/>
                  <a:ext cx="242887" cy="391477"/>
                </a:xfrm>
                <a:custGeom>
                  <a:avLst/>
                  <a:gdLst>
                    <a:gd name="connsiteX0" fmla="*/ 0 w 242887"/>
                    <a:gd name="connsiteY0" fmla="*/ 7620 h 391477"/>
                    <a:gd name="connsiteX1" fmla="*/ 90488 w 242887"/>
                    <a:gd name="connsiteY1" fmla="*/ 0 h 391477"/>
                    <a:gd name="connsiteX2" fmla="*/ 196215 w 242887"/>
                    <a:gd name="connsiteY2" fmla="*/ 27623 h 391477"/>
                    <a:gd name="connsiteX3" fmla="*/ 228600 w 242887"/>
                    <a:gd name="connsiteY3" fmla="*/ 95250 h 391477"/>
                    <a:gd name="connsiteX4" fmla="*/ 163830 w 242887"/>
                    <a:gd name="connsiteY4" fmla="*/ 180023 h 391477"/>
                    <a:gd name="connsiteX5" fmla="*/ 163830 w 242887"/>
                    <a:gd name="connsiteY5" fmla="*/ 180023 h 391477"/>
                    <a:gd name="connsiteX6" fmla="*/ 242888 w 242887"/>
                    <a:gd name="connsiteY6" fmla="*/ 278130 h 391477"/>
                    <a:gd name="connsiteX7" fmla="*/ 210502 w 242887"/>
                    <a:gd name="connsiteY7" fmla="*/ 355283 h 391477"/>
                    <a:gd name="connsiteX8" fmla="*/ 77152 w 242887"/>
                    <a:gd name="connsiteY8" fmla="*/ 391478 h 391477"/>
                    <a:gd name="connsiteX9" fmla="*/ 0 w 242887"/>
                    <a:gd name="connsiteY9" fmla="*/ 386715 h 391477"/>
                    <a:gd name="connsiteX10" fmla="*/ 0 w 242887"/>
                    <a:gd name="connsiteY10" fmla="*/ 7620 h 391477"/>
                    <a:gd name="connsiteX11" fmla="*/ 49530 w 242887"/>
                    <a:gd name="connsiteY11" fmla="*/ 164783 h 391477"/>
                    <a:gd name="connsiteX12" fmla="*/ 94297 w 242887"/>
                    <a:gd name="connsiteY12" fmla="*/ 164783 h 391477"/>
                    <a:gd name="connsiteX13" fmla="*/ 178117 w 242887"/>
                    <a:gd name="connsiteY13" fmla="*/ 100013 h 391477"/>
                    <a:gd name="connsiteX14" fmla="*/ 93345 w 242887"/>
                    <a:gd name="connsiteY14" fmla="*/ 37148 h 391477"/>
                    <a:gd name="connsiteX15" fmla="*/ 49530 w 242887"/>
                    <a:gd name="connsiteY15" fmla="*/ 40958 h 391477"/>
                    <a:gd name="connsiteX16" fmla="*/ 49530 w 242887"/>
                    <a:gd name="connsiteY16" fmla="*/ 164783 h 391477"/>
                    <a:gd name="connsiteX17" fmla="*/ 49530 w 242887"/>
                    <a:gd name="connsiteY17" fmla="*/ 349568 h 391477"/>
                    <a:gd name="connsiteX18" fmla="*/ 91440 w 242887"/>
                    <a:gd name="connsiteY18" fmla="*/ 351473 h 391477"/>
                    <a:gd name="connsiteX19" fmla="*/ 190500 w 242887"/>
                    <a:gd name="connsiteY19" fmla="*/ 276225 h 391477"/>
                    <a:gd name="connsiteX20" fmla="*/ 91440 w 242887"/>
                    <a:gd name="connsiteY20" fmla="*/ 201930 h 391477"/>
                    <a:gd name="connsiteX21" fmla="*/ 50482 w 242887"/>
                    <a:gd name="connsiteY21" fmla="*/ 201930 h 391477"/>
                    <a:gd name="connsiteX22" fmla="*/ 50482 w 242887"/>
                    <a:gd name="connsiteY22" fmla="*/ 348615 h 39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2887" h="391477">
                      <a:moveTo>
                        <a:pt x="0" y="7620"/>
                      </a:moveTo>
                      <a:cubicBezTo>
                        <a:pt x="21907" y="2858"/>
                        <a:pt x="56197" y="0"/>
                        <a:pt x="90488" y="0"/>
                      </a:cubicBezTo>
                      <a:cubicBezTo>
                        <a:pt x="140017" y="0"/>
                        <a:pt x="172402" y="8573"/>
                        <a:pt x="196215" y="27623"/>
                      </a:cubicBezTo>
                      <a:cubicBezTo>
                        <a:pt x="216217" y="42863"/>
                        <a:pt x="228600" y="65723"/>
                        <a:pt x="228600" y="95250"/>
                      </a:cubicBezTo>
                      <a:cubicBezTo>
                        <a:pt x="228600" y="124778"/>
                        <a:pt x="203835" y="164783"/>
                        <a:pt x="163830" y="180023"/>
                      </a:cubicBezTo>
                      <a:lnTo>
                        <a:pt x="163830" y="180023"/>
                      </a:lnTo>
                      <a:cubicBezTo>
                        <a:pt x="200025" y="190500"/>
                        <a:pt x="242888" y="220980"/>
                        <a:pt x="242888" y="278130"/>
                      </a:cubicBezTo>
                      <a:cubicBezTo>
                        <a:pt x="242888" y="335280"/>
                        <a:pt x="229552" y="336233"/>
                        <a:pt x="210502" y="355283"/>
                      </a:cubicBezTo>
                      <a:cubicBezTo>
                        <a:pt x="183832" y="380048"/>
                        <a:pt x="140017" y="391478"/>
                        <a:pt x="77152" y="391478"/>
                      </a:cubicBezTo>
                      <a:cubicBezTo>
                        <a:pt x="14288" y="391478"/>
                        <a:pt x="16192" y="389573"/>
                        <a:pt x="0" y="386715"/>
                      </a:cubicBezTo>
                      <a:lnTo>
                        <a:pt x="0" y="7620"/>
                      </a:lnTo>
                      <a:close/>
                      <a:moveTo>
                        <a:pt x="49530" y="164783"/>
                      </a:moveTo>
                      <a:lnTo>
                        <a:pt x="94297" y="164783"/>
                      </a:lnTo>
                      <a:cubicBezTo>
                        <a:pt x="146685" y="164783"/>
                        <a:pt x="178117" y="137160"/>
                        <a:pt x="178117" y="100013"/>
                      </a:cubicBezTo>
                      <a:cubicBezTo>
                        <a:pt x="178117" y="62865"/>
                        <a:pt x="143827" y="37148"/>
                        <a:pt x="93345" y="37148"/>
                      </a:cubicBezTo>
                      <a:cubicBezTo>
                        <a:pt x="42863" y="37148"/>
                        <a:pt x="57150" y="39053"/>
                        <a:pt x="49530" y="40958"/>
                      </a:cubicBezTo>
                      <a:lnTo>
                        <a:pt x="49530" y="164783"/>
                      </a:lnTo>
                      <a:close/>
                      <a:moveTo>
                        <a:pt x="49530" y="349568"/>
                      </a:moveTo>
                      <a:cubicBezTo>
                        <a:pt x="59055" y="351473"/>
                        <a:pt x="73342" y="351473"/>
                        <a:pt x="91440" y="351473"/>
                      </a:cubicBezTo>
                      <a:cubicBezTo>
                        <a:pt x="142875" y="351473"/>
                        <a:pt x="190500" y="332423"/>
                        <a:pt x="190500" y="276225"/>
                      </a:cubicBezTo>
                      <a:cubicBezTo>
                        <a:pt x="190500" y="220028"/>
                        <a:pt x="145732" y="201930"/>
                        <a:pt x="91440" y="201930"/>
                      </a:cubicBezTo>
                      <a:lnTo>
                        <a:pt x="50482" y="201930"/>
                      </a:lnTo>
                      <a:lnTo>
                        <a:pt x="50482" y="348615"/>
                      </a:lnTo>
                      <a:close/>
                    </a:path>
                  </a:pathLst>
                </a:custGeom>
                <a:solidFill>
                  <a:srgbClr val="1D1D1B"/>
                </a:solidFill>
                <a:ln w="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6E52919D-6B0B-100F-C140-50687F6FA195}"/>
                    </a:ext>
                  </a:extLst>
                </p:cNvPr>
                <p:cNvSpPr/>
                <p:nvPr/>
              </p:nvSpPr>
              <p:spPr>
                <a:xfrm>
                  <a:off x="4234455" y="7871009"/>
                  <a:ext cx="214312" cy="385762"/>
                </a:xfrm>
                <a:custGeom>
                  <a:avLst/>
                  <a:gdLst>
                    <a:gd name="connsiteX0" fmla="*/ 0 w 214312"/>
                    <a:gd name="connsiteY0" fmla="*/ 0 h 385762"/>
                    <a:gd name="connsiteX1" fmla="*/ 49530 w 214312"/>
                    <a:gd name="connsiteY1" fmla="*/ 0 h 385762"/>
                    <a:gd name="connsiteX2" fmla="*/ 49530 w 214312"/>
                    <a:gd name="connsiteY2" fmla="*/ 343852 h 385762"/>
                    <a:gd name="connsiteX3" fmla="*/ 214313 w 214312"/>
                    <a:gd name="connsiteY3" fmla="*/ 343852 h 385762"/>
                    <a:gd name="connsiteX4" fmla="*/ 214313 w 214312"/>
                    <a:gd name="connsiteY4" fmla="*/ 385763 h 385762"/>
                    <a:gd name="connsiteX5" fmla="*/ 0 w 214312"/>
                    <a:gd name="connsiteY5" fmla="*/ 385763 h 385762"/>
                    <a:gd name="connsiteX6" fmla="*/ 0 w 214312"/>
                    <a:gd name="connsiteY6" fmla="*/ 952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312" h="385762">
                      <a:moveTo>
                        <a:pt x="0" y="0"/>
                      </a:moveTo>
                      <a:lnTo>
                        <a:pt x="49530" y="0"/>
                      </a:lnTo>
                      <a:lnTo>
                        <a:pt x="49530" y="343852"/>
                      </a:lnTo>
                      <a:lnTo>
                        <a:pt x="214313" y="343852"/>
                      </a:lnTo>
                      <a:lnTo>
                        <a:pt x="214313" y="385763"/>
                      </a:lnTo>
                      <a:lnTo>
                        <a:pt x="0" y="385763"/>
                      </a:lnTo>
                      <a:lnTo>
                        <a:pt x="0" y="952"/>
                      </a:lnTo>
                      <a:close/>
                    </a:path>
                  </a:pathLst>
                </a:custGeom>
                <a:solidFill>
                  <a:srgbClr val="1D1D1B"/>
                </a:solidFill>
                <a:ln w="0"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424AB17B-70E3-F3DE-D17D-1C5C39DDE1BD}"/>
                    </a:ext>
                  </a:extLst>
                </p:cNvPr>
                <p:cNvSpPr/>
                <p:nvPr/>
              </p:nvSpPr>
              <p:spPr>
                <a:xfrm>
                  <a:off x="4493535" y="7871009"/>
                  <a:ext cx="394335" cy="384809"/>
                </a:xfrm>
                <a:custGeom>
                  <a:avLst/>
                  <a:gdLst>
                    <a:gd name="connsiteX0" fmla="*/ 335280 w 394335"/>
                    <a:gd name="connsiteY0" fmla="*/ 216217 h 384809"/>
                    <a:gd name="connsiteX1" fmla="*/ 329565 w 394335"/>
                    <a:gd name="connsiteY1" fmla="*/ 49530 h 384809"/>
                    <a:gd name="connsiteX2" fmla="*/ 327660 w 394335"/>
                    <a:gd name="connsiteY2" fmla="*/ 49530 h 384809"/>
                    <a:gd name="connsiteX3" fmla="*/ 279083 w 394335"/>
                    <a:gd name="connsiteY3" fmla="*/ 196215 h 384809"/>
                    <a:gd name="connsiteX4" fmla="*/ 211455 w 394335"/>
                    <a:gd name="connsiteY4" fmla="*/ 382905 h 384809"/>
                    <a:gd name="connsiteX5" fmla="*/ 173355 w 394335"/>
                    <a:gd name="connsiteY5" fmla="*/ 382905 h 384809"/>
                    <a:gd name="connsiteX6" fmla="*/ 111443 w 394335"/>
                    <a:gd name="connsiteY6" fmla="*/ 199072 h 384809"/>
                    <a:gd name="connsiteX7" fmla="*/ 66675 w 394335"/>
                    <a:gd name="connsiteY7" fmla="*/ 49530 h 384809"/>
                    <a:gd name="connsiteX8" fmla="*/ 65723 w 394335"/>
                    <a:gd name="connsiteY8" fmla="*/ 49530 h 384809"/>
                    <a:gd name="connsiteX9" fmla="*/ 58103 w 394335"/>
                    <a:gd name="connsiteY9" fmla="*/ 220027 h 384809"/>
                    <a:gd name="connsiteX10" fmla="*/ 47625 w 394335"/>
                    <a:gd name="connsiteY10" fmla="*/ 384810 h 384809"/>
                    <a:gd name="connsiteX11" fmla="*/ 0 w 394335"/>
                    <a:gd name="connsiteY11" fmla="*/ 384810 h 384809"/>
                    <a:gd name="connsiteX12" fmla="*/ 26670 w 394335"/>
                    <a:gd name="connsiteY12" fmla="*/ 0 h 384809"/>
                    <a:gd name="connsiteX13" fmla="*/ 90488 w 394335"/>
                    <a:gd name="connsiteY13" fmla="*/ 0 h 384809"/>
                    <a:gd name="connsiteX14" fmla="*/ 156210 w 394335"/>
                    <a:gd name="connsiteY14" fmla="*/ 186690 h 384809"/>
                    <a:gd name="connsiteX15" fmla="*/ 195263 w 394335"/>
                    <a:gd name="connsiteY15" fmla="*/ 316230 h 384809"/>
                    <a:gd name="connsiteX16" fmla="*/ 197168 w 394335"/>
                    <a:gd name="connsiteY16" fmla="*/ 316230 h 384809"/>
                    <a:gd name="connsiteX17" fmla="*/ 238125 w 394335"/>
                    <a:gd name="connsiteY17" fmla="*/ 186690 h 384809"/>
                    <a:gd name="connsiteX18" fmla="*/ 306705 w 394335"/>
                    <a:gd name="connsiteY18" fmla="*/ 0 h 384809"/>
                    <a:gd name="connsiteX19" fmla="*/ 370523 w 394335"/>
                    <a:gd name="connsiteY19" fmla="*/ 0 h 384809"/>
                    <a:gd name="connsiteX20" fmla="*/ 394335 w 394335"/>
                    <a:gd name="connsiteY20" fmla="*/ 384810 h 384809"/>
                    <a:gd name="connsiteX21" fmla="*/ 345758 w 394335"/>
                    <a:gd name="connsiteY21" fmla="*/ 384810 h 384809"/>
                    <a:gd name="connsiteX22" fmla="*/ 336233 w 394335"/>
                    <a:gd name="connsiteY22" fmla="*/ 215265 h 384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5" h="384809">
                      <a:moveTo>
                        <a:pt x="335280" y="216217"/>
                      </a:moveTo>
                      <a:cubicBezTo>
                        <a:pt x="332423" y="162877"/>
                        <a:pt x="328613" y="98107"/>
                        <a:pt x="329565" y="49530"/>
                      </a:cubicBezTo>
                      <a:lnTo>
                        <a:pt x="327660" y="49530"/>
                      </a:lnTo>
                      <a:cubicBezTo>
                        <a:pt x="314325" y="94297"/>
                        <a:pt x="298133" y="142875"/>
                        <a:pt x="279083" y="196215"/>
                      </a:cubicBezTo>
                      <a:lnTo>
                        <a:pt x="211455" y="382905"/>
                      </a:lnTo>
                      <a:lnTo>
                        <a:pt x="173355" y="382905"/>
                      </a:lnTo>
                      <a:lnTo>
                        <a:pt x="111443" y="199072"/>
                      </a:lnTo>
                      <a:cubicBezTo>
                        <a:pt x="93345" y="144780"/>
                        <a:pt x="78105" y="95250"/>
                        <a:pt x="66675" y="49530"/>
                      </a:cubicBezTo>
                      <a:lnTo>
                        <a:pt x="65723" y="49530"/>
                      </a:lnTo>
                      <a:cubicBezTo>
                        <a:pt x="64770" y="97155"/>
                        <a:pt x="61913" y="161925"/>
                        <a:pt x="58103" y="220027"/>
                      </a:cubicBezTo>
                      <a:lnTo>
                        <a:pt x="47625" y="384810"/>
                      </a:lnTo>
                      <a:lnTo>
                        <a:pt x="0" y="384810"/>
                      </a:lnTo>
                      <a:lnTo>
                        <a:pt x="26670" y="0"/>
                      </a:lnTo>
                      <a:lnTo>
                        <a:pt x="90488" y="0"/>
                      </a:lnTo>
                      <a:lnTo>
                        <a:pt x="156210" y="186690"/>
                      </a:lnTo>
                      <a:cubicBezTo>
                        <a:pt x="172403" y="234315"/>
                        <a:pt x="185738" y="276225"/>
                        <a:pt x="195263" y="316230"/>
                      </a:cubicBezTo>
                      <a:lnTo>
                        <a:pt x="197168" y="316230"/>
                      </a:lnTo>
                      <a:cubicBezTo>
                        <a:pt x="206693" y="277177"/>
                        <a:pt x="220980" y="235267"/>
                        <a:pt x="238125" y="186690"/>
                      </a:cubicBezTo>
                      <a:lnTo>
                        <a:pt x="306705" y="0"/>
                      </a:lnTo>
                      <a:lnTo>
                        <a:pt x="370523" y="0"/>
                      </a:lnTo>
                      <a:lnTo>
                        <a:pt x="394335" y="384810"/>
                      </a:lnTo>
                      <a:lnTo>
                        <a:pt x="345758" y="384810"/>
                      </a:lnTo>
                      <a:lnTo>
                        <a:pt x="336233" y="215265"/>
                      </a:lnTo>
                      <a:close/>
                    </a:path>
                  </a:pathLst>
                </a:custGeom>
                <a:solidFill>
                  <a:srgbClr val="1D1D1B"/>
                </a:solidFill>
                <a:ln w="0" cap="flat">
                  <a:noFill/>
                  <a:prstDash val="solid"/>
                  <a:miter/>
                </a:ln>
              </p:spPr>
              <p:txBody>
                <a:bodyPr rtlCol="0" anchor="ctr"/>
                <a:lstStyle/>
                <a:p>
                  <a:endParaRPr lang="de-DE"/>
                </a:p>
              </p:txBody>
            </p:sp>
          </p:grpSp>
        </p:grpSp>
      </p:grpSp>
      <p:pic>
        <p:nvPicPr>
          <p:cNvPr id="46" name="Grafik 45">
            <a:extLst>
              <a:ext uri="{FF2B5EF4-FFF2-40B4-BE49-F238E27FC236}">
                <a16:creationId xmlns:a16="http://schemas.microsoft.com/office/drawing/2014/main" id="{8CD82F49-5E03-4DB0-02B4-72587C4A944C}"/>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29388" y="413431"/>
            <a:ext cx="540000" cy="540000"/>
          </a:xfrm>
          <a:prstGeom prst="rect">
            <a:avLst/>
          </a:prstGeom>
        </p:spPr>
      </p:pic>
      <p:sp>
        <p:nvSpPr>
          <p:cNvPr id="47" name="Foliennummernplatzhalter 5">
            <a:extLst>
              <a:ext uri="{FF2B5EF4-FFF2-40B4-BE49-F238E27FC236}">
                <a16:creationId xmlns:a16="http://schemas.microsoft.com/office/drawing/2014/main" id="{E85A4FAC-A76E-682B-162F-90826FEF3F1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2</a:t>
            </a:fld>
            <a:endParaRPr lang="de-DE" dirty="0"/>
          </a:p>
        </p:txBody>
      </p:sp>
    </p:spTree>
    <p:extLst>
      <p:ext uri="{BB962C8B-B14F-4D97-AF65-F5344CB8AC3E}">
        <p14:creationId xmlns:p14="http://schemas.microsoft.com/office/powerpoint/2010/main" val="367026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701489" y="2682154"/>
            <a:ext cx="3378323" cy="615553"/>
          </a:xfrm>
        </p:spPr>
        <p:txBody>
          <a:bodyPr/>
          <a:lstStyle/>
          <a:p>
            <a:r>
              <a:rPr lang="de-DE" dirty="0">
                <a:latin typeface="Segoe UI" panose="020B0502040204020203" pitchFamily="34" charset="0"/>
                <a:cs typeface="Segoe UI" panose="020B0502040204020203" pitchFamily="34" charset="0"/>
              </a:rPr>
              <a:t>Eine eigene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Meinung </a:t>
            </a:r>
            <a:r>
              <a:rPr lang="de-DE" dirty="0">
                <a:latin typeface="Segoe UI" panose="020B0502040204020203" pitchFamily="34" charset="0"/>
                <a:cs typeface="Segoe UI" panose="020B0502040204020203" pitchFamily="34" charset="0"/>
              </a:rPr>
              <a:t>bilden </a:t>
            </a: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pPr lvl="0">
              <a:defRPr/>
            </a:pPr>
            <a:r>
              <a:rPr lang="de-DE" sz="2800" b="1" spc="100" dirty="0" smtClean="0">
                <a:solidFill>
                  <a:schemeClr val="accent1"/>
                </a:solidFill>
                <a:latin typeface="Segoe UI" panose="020B0502040204020203" pitchFamily="34" charset="0"/>
                <a:cs typeface="Segoe UI" panose="020B0502040204020203" pitchFamily="34" charset="0"/>
              </a:rPr>
              <a:t>HANDLUNGSTIPPs </a:t>
            </a:r>
            <a:r>
              <a:rPr lang="de-DE" dirty="0"/>
              <a:t>zur </a:t>
            </a:r>
            <a:r>
              <a:rPr lang="de-DE" dirty="0" smtClean="0"/>
              <a:t>Informationssuche</a:t>
            </a:r>
            <a:endParaRPr lang="de-DE" dirty="0"/>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107955" y="2682154"/>
            <a:ext cx="3378323" cy="307777"/>
          </a:xfrm>
        </p:spPr>
        <p:txBody>
          <a:bodyPr/>
          <a:lstStyle/>
          <a:p>
            <a:r>
              <a:rPr lang="de-DE" dirty="0" smtClean="0">
                <a:latin typeface="Segoe UI" panose="020B0502040204020203" pitchFamily="34" charset="0"/>
                <a:cs typeface="Segoe UI" panose="020B0502040204020203" pitchFamily="34" charset="0"/>
              </a:rPr>
              <a:t>Kritisch sein</a:t>
            </a:r>
            <a:endParaRPr lang="de-DE" dirty="0">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5" y="4075181"/>
            <a:ext cx="3378323" cy="615553"/>
          </a:xfrm>
        </p:spPr>
        <p:txBody>
          <a:bodyPr/>
          <a:lstStyle/>
          <a:p>
            <a:r>
              <a:rPr lang="de-DE" dirty="0">
                <a:latin typeface="Segoe UI" panose="020B0502040204020203" pitchFamily="34" charset="0"/>
                <a:cs typeface="Segoe UI" panose="020B0502040204020203" pitchFamily="34" charset="0"/>
              </a:rPr>
              <a:t>Genau </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hinschauen </a:t>
            </a: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4466"/>
            <a:ext cx="4004933" cy="615553"/>
          </a:xfrm>
        </p:spPr>
        <p:txBody>
          <a:bodyPr/>
          <a:lstStyle/>
          <a:p>
            <a:r>
              <a:rPr lang="de-DE" dirty="0">
                <a:latin typeface="Segoe UI" panose="020B0502040204020203" pitchFamily="34" charset="0"/>
                <a:cs typeface="Segoe UI" panose="020B0502040204020203" pitchFamily="34" charset="0"/>
              </a:rPr>
              <a:t>Selbst Quellen </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angeben  </a:t>
            </a: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2" y="4075181"/>
            <a:ext cx="3378323" cy="615553"/>
          </a:xfrm>
        </p:spPr>
        <p:txBody>
          <a:bodyPr/>
          <a:lstStyle/>
          <a:p>
            <a:r>
              <a:rPr lang="de-DE" dirty="0">
                <a:latin typeface="Segoe UI" panose="020B0502040204020203" pitchFamily="34" charset="0"/>
                <a:cs typeface="Segoe UI" panose="020B0502040204020203" pitchFamily="34" charset="0"/>
              </a:rPr>
              <a:t>Alternativen </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suchen </a:t>
            </a: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latin typeface="Segoe UI" panose="020B0502040204020203" pitchFamily="34" charset="0"/>
                <a:cs typeface="Segoe UI" panose="020B0502040204020203" pitchFamily="34" charset="0"/>
              </a:rPr>
              <a:t>Glaubwürdigkeit </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von Quellen </a:t>
            </a:r>
            <a:r>
              <a:rPr lang="de-DE" dirty="0" smtClean="0">
                <a:latin typeface="Segoe UI" panose="020B0502040204020203" pitchFamily="34" charset="0"/>
                <a:cs typeface="Segoe UI" panose="020B0502040204020203" pitchFamily="34" charset="0"/>
              </a:rPr>
              <a:t>prüfen</a:t>
            </a:r>
            <a:endParaRPr lang="de-DE" dirty="0">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26" name="Foliennummernplatzhalter 5">
            <a:extLst>
              <a:ext uri="{FF2B5EF4-FFF2-40B4-BE49-F238E27FC236}">
                <a16:creationId xmlns:a16="http://schemas.microsoft.com/office/drawing/2014/main" id="{E793045B-E601-6816-0EC8-DEA56177B1D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3</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439812" y="253993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3" name="Freihandform: Form 2">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 name="Freihandform: Form 3">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 name="Gruppieren 4">
            <a:extLst>
              <a:ext uri="{FF2B5EF4-FFF2-40B4-BE49-F238E27FC236}">
                <a16:creationId xmlns:a16="http://schemas.microsoft.com/office/drawing/2014/main" id="{072D550E-05D1-A756-8F80-8B9F41E8B1A3}"/>
              </a:ext>
            </a:extLst>
          </p:cNvPr>
          <p:cNvGrpSpPr/>
          <p:nvPr/>
        </p:nvGrpSpPr>
        <p:grpSpPr>
          <a:xfrm>
            <a:off x="6847955" y="2539930"/>
            <a:ext cx="900000" cy="900000"/>
            <a:chOff x="4289185" y="3182474"/>
            <a:chExt cx="900000" cy="900000"/>
          </a:xfrm>
        </p:grpSpPr>
        <p:sp>
          <p:nvSpPr>
            <p:cNvPr id="6" name="Ellipse 5">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8" name="Gruppieren 7">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sp>
        <p:nvSpPr>
          <p:cNvPr id="54" name="Abgerundetes Rechteck 53"/>
          <p:cNvSpPr/>
          <p:nvPr/>
        </p:nvSpPr>
        <p:spPr>
          <a:xfrm>
            <a:off x="10962331" y="5399998"/>
            <a:ext cx="1085467" cy="109482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36493" y="5484951"/>
            <a:ext cx="928800" cy="928800"/>
          </a:xfrm>
          <a:prstGeom prst="rect">
            <a:avLst/>
          </a:prstGeom>
        </p:spPr>
      </p:pic>
    </p:spTree>
    <p:extLst>
      <p:ext uri="{BB962C8B-B14F-4D97-AF65-F5344CB8AC3E}">
        <p14:creationId xmlns:p14="http://schemas.microsoft.com/office/powerpoint/2010/main" val="183189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build="p"/>
      <p:bldP spid="21" grpId="0" build="p"/>
      <p:bldP spid="22" grpId="0" build="p"/>
      <p:bldP spid="2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sp>
        <p:nvSpPr>
          <p:cNvPr id="11" name="Textplatzhalter 10"/>
          <p:cNvSpPr>
            <a:spLocks noGrp="1"/>
          </p:cNvSpPr>
          <p:nvPr>
            <p:ph type="body" sz="quarter" idx="13"/>
          </p:nvPr>
        </p:nvSpPr>
        <p:spPr/>
        <p:txBody>
          <a:bodyPr/>
          <a:lstStyle/>
          <a:p>
            <a:pPr marL="0" indent="0">
              <a:buNone/>
            </a:pPr>
            <a:r>
              <a:rPr lang="de-DE" sz="2800" b="1" dirty="0" smtClean="0"/>
              <a:t>Faktencheck</a:t>
            </a:r>
            <a:endParaRPr lang="de-DE" b="1" dirty="0" smtClean="0"/>
          </a:p>
          <a:p>
            <a:r>
              <a:rPr lang="de-DE" dirty="0" smtClean="0"/>
              <a:t>Wie </a:t>
            </a:r>
            <a:r>
              <a:rPr lang="de-DE" dirty="0"/>
              <a:t>informieren Sie sich über </a:t>
            </a:r>
            <a:r>
              <a:rPr lang="de-DE" dirty="0" smtClean="0"/>
              <a:t/>
            </a:r>
            <a:br>
              <a:rPr lang="de-DE" dirty="0" smtClean="0"/>
            </a:br>
            <a:r>
              <a:rPr lang="de-DE" dirty="0" smtClean="0"/>
              <a:t>ein Thema?</a:t>
            </a:r>
          </a:p>
          <a:p>
            <a:pPr marL="0" indent="0">
              <a:buNone/>
            </a:pPr>
            <a:endParaRPr lang="de-DE" dirty="0" smtClean="0"/>
          </a:p>
          <a:p>
            <a:r>
              <a:rPr lang="de-DE" dirty="0" smtClean="0"/>
              <a:t>Würden </a:t>
            </a:r>
            <a:r>
              <a:rPr lang="de-DE" dirty="0"/>
              <a:t>Sie sagen, dass Sie </a:t>
            </a:r>
            <a:r>
              <a:rPr lang="de-DE" dirty="0" smtClean="0"/>
              <a:t>zwischen einer Falschmeldung und einem seriösen Nachrichtenbeitrag unterscheiden können?</a:t>
            </a:r>
            <a:br>
              <a:rPr lang="de-DE" dirty="0" smtClean="0"/>
            </a:br>
            <a:endParaRPr lang="de-DE" dirty="0"/>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4</a:t>
            </a:fld>
            <a:endParaRPr lang="de-DE" dirty="0"/>
          </a:p>
        </p:txBody>
      </p:sp>
      <p:pic>
        <p:nvPicPr>
          <p:cNvPr id="2" name="Grafik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64603" y="3006408"/>
            <a:ext cx="4078455" cy="3119377"/>
          </a:xfrm>
          <a:prstGeom prst="rect">
            <a:avLst/>
          </a:prstGeom>
        </p:spPr>
      </p:pic>
      <p:pic>
        <p:nvPicPr>
          <p:cNvPr id="3" name="Grafik 2"/>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4679884" y="2781263"/>
            <a:ext cx="962114" cy="966791"/>
          </a:xfrm>
          <a:prstGeom prst="rect">
            <a:avLst/>
          </a:prstGeom>
        </p:spPr>
      </p:pic>
      <p:pic>
        <p:nvPicPr>
          <p:cNvPr id="4" name="Grafik 3"/>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572561" y="4858195"/>
            <a:ext cx="1176759" cy="1120447"/>
          </a:xfrm>
          <a:prstGeom prst="rect">
            <a:avLst/>
          </a:prstGeom>
        </p:spPr>
      </p:pic>
    </p:spTree>
    <p:extLst>
      <p:ext uri="{BB962C8B-B14F-4D97-AF65-F5344CB8AC3E}">
        <p14:creationId xmlns:p14="http://schemas.microsoft.com/office/powerpoint/2010/main" val="415268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smtClean="0">
                <a:solidFill>
                  <a:schemeClr val="accent1"/>
                </a:solidFill>
                <a:latin typeface="Segoe UI" panose="020B0502040204020203" pitchFamily="34" charset="0"/>
                <a:cs typeface="Segoe UI" panose="020B0502040204020203" pitchFamily="34" charset="0"/>
              </a:rPr>
              <a:t>Weitere Informationen Für Eltern</a:t>
            </a:r>
            <a:endParaRPr lang="de-DE" sz="2800" b="1" spc="100" dirty="0">
              <a:solidFill>
                <a:schemeClr val="accent1"/>
              </a:solidFill>
              <a:latin typeface="Segoe UI" panose="020B0502040204020203" pitchFamily="34" charset="0"/>
              <a:cs typeface="Segoe UI" panose="020B0502040204020203" pitchFamily="34" charset="0"/>
            </a:endParaRP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0" indent="0">
              <a:lnSpc>
                <a:spcPct val="110000"/>
              </a:lnSpc>
              <a:spcBef>
                <a:spcPts val="1000"/>
              </a:spcBef>
              <a:buClr>
                <a:schemeClr val="accent1"/>
              </a:buClr>
              <a:buNone/>
            </a:pPr>
            <a:r>
              <a:rPr lang="de-DE" dirty="0" smtClean="0"/>
              <a:t>Im </a:t>
            </a:r>
            <a:r>
              <a:rPr lang="de-DE" dirty="0" err="1"/>
              <a:t>m</a:t>
            </a:r>
            <a:r>
              <a:rPr lang="de-DE" dirty="0" err="1" smtClean="0"/>
              <a:t>ebis</a:t>
            </a:r>
            <a:r>
              <a:rPr lang="de-DE" dirty="0" smtClean="0"/>
              <a:t> Magazin finden Sie eine Vielzahl weiterer kostenfreier Informationsangebote für Eltern der BLM Stiftung Medienpädagogik Bayern, z. B. zu den Themenbereichen:</a:t>
            </a:r>
            <a:endParaRPr lang="de-DE" dirty="0"/>
          </a:p>
          <a:p>
            <a:pPr>
              <a:buClr>
                <a:schemeClr val="accent4"/>
              </a:buClr>
            </a:pPr>
            <a:r>
              <a:rPr lang="de-DE" b="1" dirty="0" err="1" smtClean="0">
                <a:solidFill>
                  <a:schemeClr val="accent4"/>
                </a:solidFill>
              </a:rPr>
              <a:t>Social</a:t>
            </a:r>
            <a:r>
              <a:rPr lang="de-DE" b="1" dirty="0" smtClean="0">
                <a:solidFill>
                  <a:schemeClr val="accent4"/>
                </a:solidFill>
              </a:rPr>
              <a:t> Media</a:t>
            </a:r>
          </a:p>
          <a:p>
            <a:pPr>
              <a:buClr>
                <a:schemeClr val="accent5"/>
              </a:buClr>
            </a:pPr>
            <a:r>
              <a:rPr lang="de-DE" b="1" dirty="0" smtClean="0">
                <a:solidFill>
                  <a:schemeClr val="accent5"/>
                </a:solidFill>
              </a:rPr>
              <a:t>Verletzendes Online-Handeln</a:t>
            </a:r>
          </a:p>
          <a:p>
            <a:pPr>
              <a:buClr>
                <a:schemeClr val="accent2"/>
              </a:buClr>
            </a:pPr>
            <a:r>
              <a:rPr lang="de-DE" b="1" dirty="0" smtClean="0">
                <a:solidFill>
                  <a:schemeClr val="accent2"/>
                </a:solidFill>
              </a:rPr>
              <a:t>Jugendschutz und Sicherheitseinstellungen</a:t>
            </a:r>
          </a:p>
          <a:p>
            <a:pPr>
              <a:buClr>
                <a:schemeClr val="accent3"/>
              </a:buClr>
            </a:pPr>
            <a:r>
              <a:rPr lang="de-DE" b="1" dirty="0" smtClean="0">
                <a:solidFill>
                  <a:schemeClr val="accent3"/>
                </a:solidFill>
              </a:rPr>
              <a:t>Sexualisierte Inhalte</a:t>
            </a:r>
          </a:p>
          <a:p>
            <a:pPr>
              <a:buClr>
                <a:schemeClr val="accent6"/>
              </a:buClr>
            </a:pPr>
            <a:r>
              <a:rPr lang="de-DE" b="1" dirty="0" smtClean="0">
                <a:solidFill>
                  <a:schemeClr val="accent6"/>
                </a:solidFill>
              </a:rPr>
              <a:t>Medien und Gesundheit</a:t>
            </a:r>
          </a:p>
          <a:p>
            <a:pPr marL="0" indent="0">
              <a:lnSpc>
                <a:spcPct val="110000"/>
              </a:lnSpc>
              <a:spcBef>
                <a:spcPts val="1000"/>
              </a:spcBef>
              <a:buClr>
                <a:schemeClr val="accent1"/>
              </a:buClr>
              <a:buNone/>
            </a:pPr>
            <a:endParaRPr lang="de-DE" sz="2000" dirty="0" smtClean="0">
              <a:solidFill>
                <a:schemeClr val="tx1">
                  <a:lumMod val="75000"/>
                  <a:lumOff val="25000"/>
                </a:schemeClr>
              </a:solidFill>
            </a:endParaRPr>
          </a:p>
          <a:p>
            <a:pPr marL="0" indent="0">
              <a:buNone/>
            </a:pPr>
            <a:r>
              <a:rPr lang="de-DE" dirty="0" smtClean="0">
                <a:hlinkClick r:id="rId3"/>
              </a:rPr>
              <a:t>https://mebis.bycs.de/beitrag/angebote-fuer-erziehungsberechtigte</a:t>
            </a:r>
            <a:endParaRPr lang="de-DE" dirty="0" smtClean="0"/>
          </a:p>
          <a:p>
            <a:pPr marL="0" indent="0">
              <a:lnSpc>
                <a:spcPct val="110000"/>
              </a:lnSpc>
              <a:spcBef>
                <a:spcPts val="1000"/>
              </a:spcBef>
              <a:buClr>
                <a:schemeClr val="accent1"/>
              </a:buClr>
              <a:buNone/>
            </a:pPr>
            <a:endParaRPr lang="de-DE" sz="2000" dirty="0">
              <a:solidFill>
                <a:schemeClr val="tx1">
                  <a:lumMod val="75000"/>
                  <a:lumOff val="25000"/>
                </a:schemeClr>
              </a:solidFill>
            </a:endParaRPr>
          </a:p>
          <a:p>
            <a:pPr marL="0" indent="0">
              <a:lnSpc>
                <a:spcPct val="110000"/>
              </a:lnSpc>
              <a:spcBef>
                <a:spcPts val="1000"/>
              </a:spcBef>
              <a:buClr>
                <a:schemeClr val="accent1"/>
              </a:buClr>
              <a:buNone/>
            </a:pPr>
            <a:endParaRPr lang="de-DE" sz="2000" dirty="0">
              <a:solidFill>
                <a:schemeClr val="tx1">
                  <a:lumMod val="75000"/>
                  <a:lumOff val="25000"/>
                </a:schemeClr>
              </a:solidFill>
            </a:endParaRPr>
          </a:p>
        </p:txBody>
      </p:sp>
      <p:pic>
        <p:nvPicPr>
          <p:cNvPr id="14" name="Grafik 13">
            <a:extLst>
              <a:ext uri="{FF2B5EF4-FFF2-40B4-BE49-F238E27FC236}">
                <a16:creationId xmlns:a16="http://schemas.microsoft.com/office/drawing/2014/main" id="{F40774FE-D3FD-2057-03FA-973175111110}"/>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50381" y="410025"/>
            <a:ext cx="464948" cy="540000"/>
          </a:xfrm>
          <a:prstGeom prst="rect">
            <a:avLst/>
          </a:prstGeom>
        </p:spPr>
      </p:pic>
      <p:sp>
        <p:nvSpPr>
          <p:cNvPr id="15" name="Foliennummernplatzhalter 5">
            <a:extLst>
              <a:ext uri="{FF2B5EF4-FFF2-40B4-BE49-F238E27FC236}">
                <a16:creationId xmlns:a16="http://schemas.microsoft.com/office/drawing/2014/main" id="{0C4C6FAF-1751-3ACD-8C15-1C11E65769E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5</a:t>
            </a:fld>
            <a:endParaRPr lang="de-DE" dirty="0"/>
          </a:p>
        </p:txBody>
      </p:sp>
      <p:sp>
        <p:nvSpPr>
          <p:cNvPr id="2" name="Abgerundetes Rechteck 1"/>
          <p:cNvSpPr/>
          <p:nvPr/>
        </p:nvSpPr>
        <p:spPr>
          <a:xfrm>
            <a:off x="8795340" y="2500404"/>
            <a:ext cx="2393360" cy="2349500"/>
          </a:xfrm>
          <a:prstGeom prst="roundRect">
            <a:avLst/>
          </a:prstGeom>
          <a:solidFill>
            <a:srgbClr val="F39324">
              <a:alpha val="38039"/>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F39324">
              <a:alpha val="38039"/>
            </a:srgbClr>
          </a:solidFill>
          <a:ln>
            <a:solidFill>
              <a:schemeClr val="accent1"/>
            </a:solidFill>
          </a:ln>
        </p:spPr>
      </p:pic>
    </p:spTree>
    <p:extLst>
      <p:ext uri="{BB962C8B-B14F-4D97-AF65-F5344CB8AC3E}">
        <p14:creationId xmlns:p14="http://schemas.microsoft.com/office/powerpoint/2010/main" val="362248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smtClean="0">
                <a:solidFill>
                  <a:schemeClr val="accent1"/>
                </a:solidFill>
                <a:latin typeface="Segoe UI" panose="020B0502040204020203" pitchFamily="34" charset="0"/>
                <a:cs typeface="Segoe UI" panose="020B0502040204020203" pitchFamily="34" charset="0"/>
              </a:rPr>
              <a:t>Impressum</a:t>
            </a:r>
            <a:endParaRPr lang="de-DE" sz="2800" b="1" spc="100" dirty="0">
              <a:solidFill>
                <a:schemeClr val="accent1"/>
              </a:solidFill>
              <a:latin typeface="Segoe UI" panose="020B0502040204020203" pitchFamily="34" charset="0"/>
              <a:cs typeface="Segoe UI" panose="020B0502040204020203" pitchFamily="34" charset="0"/>
            </a:endParaRP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0" indent="0">
              <a:buNone/>
            </a:pPr>
            <a:r>
              <a:rPr lang="de-DE" dirty="0" smtClean="0"/>
              <a:t>Die vorliegende Präsentationsvorlage kann von der jeweiligen Lehrkraft textlich und grafisch individuell angepasst werden. </a:t>
            </a:r>
          </a:p>
          <a:p>
            <a:pPr marL="0" indent="0">
              <a:buNone/>
            </a:pPr>
            <a:endParaRPr lang="de-DE" b="1" dirty="0"/>
          </a:p>
          <a:p>
            <a:pPr marL="0" indent="0">
              <a:buNone/>
            </a:pPr>
            <a:r>
              <a:rPr lang="de-DE" b="1" dirty="0" smtClean="0"/>
              <a:t>Konzeption und Redaktion der Präsentation: </a:t>
            </a:r>
            <a:r>
              <a:rPr lang="de-DE" dirty="0"/>
              <a:t>BLM Stiftung Medienpädagogik </a:t>
            </a:r>
            <a:r>
              <a:rPr lang="de-DE" dirty="0" smtClean="0"/>
              <a:t>Bayern </a:t>
            </a:r>
            <a:endParaRPr lang="de-DE" dirty="0"/>
          </a:p>
          <a:p>
            <a:pPr marL="0" indent="0">
              <a:buNone/>
            </a:pPr>
            <a:r>
              <a:rPr lang="de-DE" b="1" dirty="0" smtClean="0"/>
              <a:t>Satz und </a:t>
            </a:r>
            <a:r>
              <a:rPr lang="de-DE" b="1" dirty="0"/>
              <a:t>Layout der </a:t>
            </a:r>
            <a:r>
              <a:rPr lang="de-DE" b="1" dirty="0" smtClean="0"/>
              <a:t>Präsentation: </a:t>
            </a:r>
            <a:r>
              <a:rPr lang="en-US" dirty="0" err="1"/>
              <a:t>Erdt</a:t>
            </a:r>
            <a:r>
              <a:rPr lang="en-US" dirty="0"/>
              <a:t> </a:t>
            </a:r>
            <a:r>
              <a:rPr lang="en-US" dirty="0" err="1"/>
              <a:t>ArtWorks</a:t>
            </a:r>
            <a:r>
              <a:rPr lang="en-US" dirty="0"/>
              <a:t> GmbH &amp; Co. </a:t>
            </a:r>
            <a:r>
              <a:rPr lang="en-US" dirty="0" smtClean="0"/>
              <a:t>KG</a:t>
            </a:r>
            <a:r>
              <a:rPr lang="de-DE" dirty="0" smtClean="0"/>
              <a:t> </a:t>
            </a:r>
            <a:endParaRPr lang="de-DE" dirty="0"/>
          </a:p>
          <a:p>
            <a:pPr marL="0" indent="0">
              <a:buNone/>
            </a:pPr>
            <a:r>
              <a:rPr lang="de-DE" b="1" dirty="0"/>
              <a:t>Bildnachweise: </a:t>
            </a:r>
            <a:r>
              <a:rPr lang="de-DE" dirty="0"/>
              <a:t>Peter Weber </a:t>
            </a:r>
            <a:r>
              <a:rPr lang="de-DE" dirty="0" smtClean="0"/>
              <a:t>Grafikdesign</a:t>
            </a:r>
          </a:p>
          <a:p>
            <a:pPr marL="0" indent="0">
              <a:buNone/>
            </a:pPr>
            <a:r>
              <a:rPr lang="de-DE" dirty="0" smtClean="0"/>
              <a:t>München, 2024</a:t>
            </a:r>
          </a:p>
          <a:p>
            <a:pPr marL="0" indent="0">
              <a:buNone/>
            </a:pPr>
            <a:endParaRPr lang="de-DE" dirty="0"/>
          </a:p>
          <a:p>
            <a:pPr marL="0" indent="0">
              <a:buNone/>
            </a:pPr>
            <a:r>
              <a:rPr lang="de-DE" dirty="0"/>
              <a:t>Entwicklung der Materialien im Rahmen </a:t>
            </a:r>
            <a:r>
              <a:rPr lang="de-DE" dirty="0" smtClean="0"/>
              <a:t>der „Digitalen </a:t>
            </a:r>
            <a:r>
              <a:rPr lang="de-DE" dirty="0"/>
              <a:t>Schule der Zukunft“ </a:t>
            </a:r>
            <a:r>
              <a:rPr lang="de-DE" dirty="0" smtClean="0"/>
              <a:t/>
            </a:r>
            <a:br>
              <a:rPr lang="de-DE" dirty="0" smtClean="0"/>
            </a:br>
            <a:r>
              <a:rPr lang="de-DE" dirty="0" smtClean="0"/>
              <a:t>und </a:t>
            </a:r>
            <a:r>
              <a:rPr lang="de-DE" dirty="0"/>
              <a:t>gefördert durch das </a:t>
            </a:r>
            <a:r>
              <a:rPr lang="de-DE" dirty="0" smtClean="0"/>
              <a:t>Bayerische </a:t>
            </a:r>
            <a:r>
              <a:rPr lang="de-DE" dirty="0"/>
              <a:t>Staatsministerium für Unterricht </a:t>
            </a:r>
            <a:r>
              <a:rPr lang="de-DE"/>
              <a:t>und </a:t>
            </a:r>
            <a:r>
              <a:rPr lang="de-DE" smtClean="0"/>
              <a:t>Kultus. </a:t>
            </a:r>
            <a:endParaRPr lang="de-DE" sz="2000" dirty="0">
              <a:solidFill>
                <a:schemeClr val="tx1">
                  <a:lumMod val="75000"/>
                  <a:lumOff val="25000"/>
                </a:schemeClr>
              </a:solidFill>
            </a:endParaRPr>
          </a:p>
          <a:p>
            <a:pPr marL="0" indent="0">
              <a:lnSpc>
                <a:spcPct val="110000"/>
              </a:lnSpc>
              <a:spcBef>
                <a:spcPts val="1000"/>
              </a:spcBef>
              <a:buClr>
                <a:schemeClr val="accent1"/>
              </a:buClr>
              <a:buNone/>
            </a:pPr>
            <a:endParaRPr lang="de-DE" sz="2000" dirty="0" smtClean="0">
              <a:solidFill>
                <a:schemeClr val="tx1">
                  <a:lumMod val="75000"/>
                  <a:lumOff val="25000"/>
                </a:schemeClr>
              </a:solidFill>
            </a:endParaRPr>
          </a:p>
        </p:txBody>
      </p:sp>
      <p:pic>
        <p:nvPicPr>
          <p:cNvPr id="14" name="Grafik 13">
            <a:extLst>
              <a:ext uri="{FF2B5EF4-FFF2-40B4-BE49-F238E27FC236}">
                <a16:creationId xmlns:a16="http://schemas.microsoft.com/office/drawing/2014/main" id="{F40774FE-D3FD-2057-03FA-973175111110}"/>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50381" y="410025"/>
            <a:ext cx="464948" cy="540000"/>
          </a:xfrm>
          <a:prstGeom prst="rect">
            <a:avLst/>
          </a:prstGeom>
        </p:spPr>
      </p:pic>
      <p:sp>
        <p:nvSpPr>
          <p:cNvPr id="15" name="Foliennummernplatzhalter 5">
            <a:extLst>
              <a:ext uri="{FF2B5EF4-FFF2-40B4-BE49-F238E27FC236}">
                <a16:creationId xmlns:a16="http://schemas.microsoft.com/office/drawing/2014/main" id="{0C4C6FAF-1751-3ACD-8C15-1C11E65769E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6</a:t>
            </a:fld>
            <a:endParaRPr lang="de-DE" dirty="0"/>
          </a:p>
        </p:txBody>
      </p:sp>
      <p:pic>
        <p:nvPicPr>
          <p:cNvPr id="2" name="Grafik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4" name="Grafik 3"/>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270809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LEERE SEITE FÜR INPUT</a:t>
            </a:r>
          </a:p>
        </p:txBody>
      </p:sp>
      <p:pic>
        <p:nvPicPr>
          <p:cNvPr id="9" name="Grafik 8">
            <a:extLst>
              <a:ext uri="{FF2B5EF4-FFF2-40B4-BE49-F238E27FC236}">
                <a16:creationId xmlns:a16="http://schemas.microsoft.com/office/drawing/2014/main" id="{8371B9E1-5963-39B9-5862-9F6B6E14C8BE}"/>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50381" y="410025"/>
            <a:ext cx="464948" cy="540000"/>
          </a:xfrm>
          <a:prstGeom prst="rect">
            <a:avLst/>
          </a:prstGeom>
        </p:spPr>
      </p:pic>
      <p:sp>
        <p:nvSpPr>
          <p:cNvPr id="10" name="Foliennummernplatzhalter 5">
            <a:extLst>
              <a:ext uri="{FF2B5EF4-FFF2-40B4-BE49-F238E27FC236}">
                <a16:creationId xmlns:a16="http://schemas.microsoft.com/office/drawing/2014/main" id="{797CED2E-702F-C621-E0B3-3BF6FAE7BEB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7</a:t>
            </a:fld>
            <a:endParaRPr lang="de-DE" dirty="0"/>
          </a:p>
        </p:txBody>
      </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24079"/>
            <a:ext cx="540000" cy="518704"/>
          </a:xfrm>
          <a:prstGeom prst="rect">
            <a:avLst/>
          </a:prstGeom>
        </p:spPr>
      </p:pic>
      <p:sp>
        <p:nvSpPr>
          <p:cNvPr id="13" name="Foliennummernplatzhalter 5">
            <a:extLst>
              <a:ext uri="{FF2B5EF4-FFF2-40B4-BE49-F238E27FC236}">
                <a16:creationId xmlns:a16="http://schemas.microsoft.com/office/drawing/2014/main" id="{833B13FE-CB24-6F1F-FAA7-C6864FCE626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8</a:t>
            </a:fld>
            <a:endParaRPr lang="de-DE" dirty="0"/>
          </a:p>
        </p:txBody>
      </p:sp>
    </p:spTree>
    <p:extLst>
      <p:ext uri="{BB962C8B-B14F-4D97-AF65-F5344CB8AC3E}">
        <p14:creationId xmlns:p14="http://schemas.microsoft.com/office/powerpoint/2010/main" val="339128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solidFill>
                  <a:schemeClr val="accent1"/>
                </a:solidFill>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Clr>
                <a:schemeClr val="accent1"/>
              </a:buClr>
              <a:buFont typeface="Arial" panose="020B0604020202020204" pitchFamily="34" charset="0"/>
              <a:buChar char="•"/>
            </a:pPr>
            <a:endParaRPr lang="de-DE" sz="2000" dirty="0">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13" name="Foliennummernplatzhalter 5">
            <a:extLst>
              <a:ext uri="{FF2B5EF4-FFF2-40B4-BE49-F238E27FC236}">
                <a16:creationId xmlns:a16="http://schemas.microsoft.com/office/drawing/2014/main" id="{C3F5A1C6-278A-808B-DEE5-4665E1B62F0D}"/>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9</a:t>
            </a:fld>
            <a:endParaRPr lang="de-DE" dirty="0"/>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ediennutzung_Familie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543"/>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929388" y="424079"/>
            <a:ext cx="540000" cy="518704"/>
          </a:xfrm>
          <a:prstGeom prst="rect">
            <a:avLst/>
          </a:prstGeom>
        </p:spPr>
      </p:pic>
      <p:sp>
        <p:nvSpPr>
          <p:cNvPr id="13" name="Foliennummernplatzhalter 5">
            <a:extLst>
              <a:ext uri="{FF2B5EF4-FFF2-40B4-BE49-F238E27FC236}">
                <a16:creationId xmlns:a16="http://schemas.microsoft.com/office/drawing/2014/main" id="{833B13FE-CB24-6F1F-FAA7-C6864FCE626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a:t>
            </a:fld>
            <a:endParaRPr lang="de-DE" dirty="0"/>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fullScrn="1">
              <p:cMediaNode vol="80000">
                <p:cTn id="7" fill="hold" display="0">
                  <p:stCondLst>
                    <p:cond delay="indefinite"/>
                  </p:stCondLst>
                </p:cTn>
                <p:tgtEl>
                  <p:spTgt spid="2"/>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26" name="Foliennummernplatzhalter 5">
            <a:extLst>
              <a:ext uri="{FF2B5EF4-FFF2-40B4-BE49-F238E27FC236}">
                <a16:creationId xmlns:a16="http://schemas.microsoft.com/office/drawing/2014/main" id="{E793045B-E601-6816-0EC8-DEA56177B1D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0</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3" name="Freihandform: Form 2">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 name="Freihandform: Form 3">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 name="Gruppieren 4">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6" name="Ellipse 5">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8" name="Gruppieren 7">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9" name="Gruppieren 8">
            <a:extLst>
              <a:ext uri="{FF2B5EF4-FFF2-40B4-BE49-F238E27FC236}">
                <a16:creationId xmlns:a16="http://schemas.microsoft.com/office/drawing/2014/main" id="{4C50121B-A634-9748-233B-C30BEAE94662}"/>
              </a:ext>
            </a:extLst>
          </p:cNvPr>
          <p:cNvGrpSpPr/>
          <p:nvPr/>
        </p:nvGrpSpPr>
        <p:grpSpPr>
          <a:xfrm>
            <a:off x="5639186" y="2210344"/>
            <a:ext cx="900000" cy="900000"/>
            <a:chOff x="5639186" y="221034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5639186" y="221034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5729186" y="230034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sp>
          <p:nvSpPr>
            <p:cNvPr id="68" name="Freihandform: Form 67">
              <a:extLst>
                <a:ext uri="{FF2B5EF4-FFF2-40B4-BE49-F238E27FC236}">
                  <a16:creationId xmlns:a16="http://schemas.microsoft.com/office/drawing/2014/main" id="{90294D06-2CA3-FC62-C561-00F66370BCC6}"/>
                </a:ext>
              </a:extLst>
            </p:cNvPr>
            <p:cNvSpPr/>
            <p:nvPr/>
          </p:nvSpPr>
          <p:spPr>
            <a:xfrm>
              <a:off x="5729186" y="2300344"/>
              <a:ext cx="720000" cy="7200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5729186" y="2300344"/>
              <a:ext cx="360000" cy="7200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sp>
        <p:nvSpPr>
          <p:cNvPr id="10" name="Textplatzhalter 9"/>
          <p:cNvSpPr>
            <a:spLocks noGrp="1"/>
          </p:cNvSpPr>
          <p:nvPr>
            <p:ph type="body" sz="quarter" idx="18"/>
          </p:nvPr>
        </p:nvSpPr>
        <p:spPr/>
        <p:txBody>
          <a:bodyPr/>
          <a:lstStyle/>
          <a:p>
            <a:endParaRPr lang="de-DE" dirty="0"/>
          </a:p>
        </p:txBody>
      </p:sp>
      <p:sp>
        <p:nvSpPr>
          <p:cNvPr id="11" name="Textplatzhalter 10"/>
          <p:cNvSpPr>
            <a:spLocks noGrp="1"/>
          </p:cNvSpPr>
          <p:nvPr>
            <p:ph type="body" sz="quarter" idx="14"/>
          </p:nvPr>
        </p:nvSpPr>
        <p:spPr/>
        <p:txBody>
          <a:bodyPr/>
          <a:lstStyle/>
          <a:p>
            <a:endParaRPr lang="de-DE"/>
          </a:p>
        </p:txBody>
      </p:sp>
      <p:sp>
        <p:nvSpPr>
          <p:cNvPr id="12" name="Textplatzhalter 11"/>
          <p:cNvSpPr>
            <a:spLocks noGrp="1"/>
          </p:cNvSpPr>
          <p:nvPr>
            <p:ph type="body" sz="quarter" idx="15"/>
          </p:nvPr>
        </p:nvSpPr>
        <p:spPr/>
        <p:txBody>
          <a:bodyPr/>
          <a:lstStyle/>
          <a:p>
            <a:endParaRPr lang="de-DE"/>
          </a:p>
        </p:txBody>
      </p:sp>
      <p:sp>
        <p:nvSpPr>
          <p:cNvPr id="29" name="Textplatzhalter 28"/>
          <p:cNvSpPr>
            <a:spLocks noGrp="1"/>
          </p:cNvSpPr>
          <p:nvPr>
            <p:ph type="body" sz="quarter" idx="16"/>
          </p:nvPr>
        </p:nvSpPr>
        <p:spPr/>
        <p:txBody>
          <a:bodyPr/>
          <a:lstStyle/>
          <a:p>
            <a:endParaRPr lang="de-DE"/>
          </a:p>
        </p:txBody>
      </p:sp>
      <p:sp>
        <p:nvSpPr>
          <p:cNvPr id="30" name="Textplatzhalter 29"/>
          <p:cNvSpPr>
            <a:spLocks noGrp="1"/>
          </p:cNvSpPr>
          <p:nvPr>
            <p:ph type="body" sz="quarter" idx="19"/>
          </p:nvPr>
        </p:nvSpPr>
        <p:spPr/>
        <p:txBody>
          <a:bodyPr/>
          <a:lstStyle/>
          <a:p>
            <a:endParaRPr lang="de-DE"/>
          </a:p>
        </p:txBody>
      </p:sp>
      <p:sp>
        <p:nvSpPr>
          <p:cNvPr id="19" name="Textplatzhalter 18"/>
          <p:cNvSpPr>
            <a:spLocks noGrp="1"/>
          </p:cNvSpPr>
          <p:nvPr>
            <p:ph type="body" sz="quarter" idx="17"/>
          </p:nvPr>
        </p:nvSpPr>
        <p:spPr/>
        <p:txBody>
          <a:bodyPr/>
          <a:lstStyle/>
          <a:p>
            <a:endParaRPr lang="de-DE"/>
          </a:p>
        </p:txBody>
      </p:sp>
      <p:sp>
        <p:nvSpPr>
          <p:cNvPr id="20" name="Textplatzhalter 19"/>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pic>
        <p:nvPicPr>
          <p:cNvPr id="14" name="Grafik 13">
            <a:extLst>
              <a:ext uri="{FF2B5EF4-FFF2-40B4-BE49-F238E27FC236}">
                <a16:creationId xmlns:a16="http://schemas.microsoft.com/office/drawing/2014/main" id="{F40774FE-D3FD-2057-03FA-973175111110}"/>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50381" y="410025"/>
            <a:ext cx="464948" cy="540000"/>
          </a:xfrm>
          <a:prstGeom prst="rect">
            <a:avLst/>
          </a:prstGeom>
        </p:spPr>
      </p:pic>
      <p:sp>
        <p:nvSpPr>
          <p:cNvPr id="15" name="Foliennummernplatzhalter 5">
            <a:extLst>
              <a:ext uri="{FF2B5EF4-FFF2-40B4-BE49-F238E27FC236}">
                <a16:creationId xmlns:a16="http://schemas.microsoft.com/office/drawing/2014/main" id="{0C4C6FAF-1751-3ACD-8C15-1C11E65769E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1</a:t>
            </a:fld>
            <a:endParaRPr lang="de-DE" dirty="0"/>
          </a:p>
        </p:txBody>
      </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pic>
        <p:nvPicPr>
          <p:cNvPr id="9" name="Grafik 8">
            <a:extLst>
              <a:ext uri="{FF2B5EF4-FFF2-40B4-BE49-F238E27FC236}">
                <a16:creationId xmlns:a16="http://schemas.microsoft.com/office/drawing/2014/main" id="{BFBC0551-29B9-4EFC-BCC7-00B25BA01765}"/>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50381" y="410025"/>
            <a:ext cx="464948" cy="540000"/>
          </a:xfrm>
          <a:prstGeom prst="rect">
            <a:avLst/>
          </a:prstGeom>
        </p:spPr>
      </p:pic>
      <p:sp>
        <p:nvSpPr>
          <p:cNvPr id="10" name="Foliennummernplatzhalter 5">
            <a:extLst>
              <a:ext uri="{FF2B5EF4-FFF2-40B4-BE49-F238E27FC236}">
                <a16:creationId xmlns:a16="http://schemas.microsoft.com/office/drawing/2014/main" id="{87107ED3-6030-0563-5366-3884B5C69AE5}"/>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2</a:t>
            </a:fld>
            <a:endParaRPr lang="de-DE" dirty="0"/>
          </a:p>
        </p:txBody>
      </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p:cNvGraphicFramePr>
          <p:nvPr>
            <p:extLst>
              <p:ext uri="{D42A27DB-BD31-4B8C-83A1-F6EECF244321}">
                <p14:modId xmlns:p14="http://schemas.microsoft.com/office/powerpoint/2010/main" val="480927411"/>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pic>
        <p:nvPicPr>
          <p:cNvPr id="8" name="Grafik 7">
            <a:extLst>
              <a:ext uri="{FF2B5EF4-FFF2-40B4-BE49-F238E27FC236}">
                <a16:creationId xmlns:a16="http://schemas.microsoft.com/office/drawing/2014/main" id="{64F54502-1766-1BD9-F4C8-C5F9209BF4C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50381" y="410025"/>
            <a:ext cx="464948" cy="540000"/>
          </a:xfrm>
          <a:prstGeom prst="rect">
            <a:avLst/>
          </a:prstGeom>
        </p:spPr>
      </p:pic>
      <p:sp>
        <p:nvSpPr>
          <p:cNvPr id="9" name="Foliennummernplatzhalter 5">
            <a:extLst>
              <a:ext uri="{FF2B5EF4-FFF2-40B4-BE49-F238E27FC236}">
                <a16:creationId xmlns:a16="http://schemas.microsoft.com/office/drawing/2014/main" id="{F8A15641-DB12-C17E-B72C-3D0E29EB8F1D}"/>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3</a:t>
            </a:fld>
            <a:endParaRPr lang="de-DE" dirty="0"/>
          </a:p>
        </p:txBody>
      </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0" indent="0">
              <a:buNone/>
            </a:pPr>
            <a:endParaRPr lang="de-DE" sz="1400" dirty="0"/>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4224085029"/>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pic>
        <p:nvPicPr>
          <p:cNvPr id="25" name="Grafik 24">
            <a:extLst>
              <a:ext uri="{FF2B5EF4-FFF2-40B4-BE49-F238E27FC236}">
                <a16:creationId xmlns:a16="http://schemas.microsoft.com/office/drawing/2014/main" id="{50B82468-105D-8207-D813-382F0D3D3006}"/>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50381" y="410025"/>
            <a:ext cx="464948" cy="540000"/>
          </a:xfrm>
          <a:prstGeom prst="rect">
            <a:avLst/>
          </a:prstGeom>
        </p:spPr>
      </p:pic>
      <p:sp>
        <p:nvSpPr>
          <p:cNvPr id="26" name="Foliennummernplatzhalter 5">
            <a:extLst>
              <a:ext uri="{FF2B5EF4-FFF2-40B4-BE49-F238E27FC236}">
                <a16:creationId xmlns:a16="http://schemas.microsoft.com/office/drawing/2014/main" id="{128F11F3-B200-0725-828E-B6CCD96B5B1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4</a:t>
            </a:fld>
            <a:endParaRPr lang="de-DE" dirty="0"/>
          </a:p>
        </p:txBody>
      </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p:txBody>
          <a:bodyPr/>
          <a:lstStyle/>
          <a:p>
            <a:r>
              <a:rPr lang="de-DE" dirty="0" smtClean="0"/>
              <a:t>Medienerziehung im Alltag</a:t>
            </a:r>
            <a:endParaRPr lang="de-DE" dirty="0"/>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3</a:t>
            </a:fld>
            <a:endParaRPr lang="de-DE" dirty="0"/>
          </a:p>
        </p:txBody>
      </p:sp>
    </p:spTree>
    <p:extLst>
      <p:ext uri="{BB962C8B-B14F-4D97-AF65-F5344CB8AC3E}">
        <p14:creationId xmlns:p14="http://schemas.microsoft.com/office/powerpoint/2010/main" val="182800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lnSpc>
                <a:spcPct val="110000"/>
              </a:lnSpc>
              <a:spcBef>
                <a:spcPts val="1500"/>
              </a:spcBef>
              <a:buClr>
                <a:schemeClr val="accent1"/>
              </a:buClr>
              <a:buFont typeface="Arial" panose="020B0604020202020204" pitchFamily="34" charset="0"/>
              <a:buChar char="•"/>
            </a:pPr>
            <a:r>
              <a:rPr lang="de-DE" sz="2000" dirty="0" smtClean="0">
                <a:solidFill>
                  <a:schemeClr val="tx1">
                    <a:lumMod val="75000"/>
                    <a:lumOff val="25000"/>
                  </a:schemeClr>
                </a:solidFill>
                <a:effectLst/>
                <a:latin typeface="+mj-lt"/>
                <a:ea typeface="Calibri" panose="020F0502020204030204" pitchFamily="34" charset="0"/>
                <a:cs typeface="Semikolon Plus"/>
              </a:rPr>
              <a:t>Wofür </a:t>
            </a:r>
            <a:r>
              <a:rPr lang="de-DE" sz="2000" dirty="0">
                <a:solidFill>
                  <a:schemeClr val="tx1">
                    <a:lumMod val="75000"/>
                    <a:lumOff val="25000"/>
                  </a:schemeClr>
                </a:solidFill>
                <a:effectLst/>
                <a:latin typeface="+mj-lt"/>
                <a:ea typeface="Calibri" panose="020F0502020204030204" pitchFamily="34" charset="0"/>
                <a:cs typeface="Semikolon Plus"/>
              </a:rPr>
              <a:t>nutzen Sie Medien (im Alltag)? </a:t>
            </a:r>
            <a:br>
              <a:rPr lang="de-DE" sz="2000" dirty="0">
                <a:solidFill>
                  <a:schemeClr val="tx1">
                    <a:lumMod val="75000"/>
                    <a:lumOff val="25000"/>
                  </a:schemeClr>
                </a:solidFill>
                <a:effectLst/>
                <a:latin typeface="+mj-lt"/>
                <a:ea typeface="Calibri" panose="020F0502020204030204" pitchFamily="34" charset="0"/>
                <a:cs typeface="Semikolon Plus"/>
              </a:rPr>
            </a:br>
            <a:r>
              <a:rPr lang="de-DE" sz="2000" dirty="0">
                <a:solidFill>
                  <a:schemeClr val="tx1">
                    <a:lumMod val="75000"/>
                    <a:lumOff val="25000"/>
                  </a:schemeClr>
                </a:solidFill>
                <a:effectLst/>
                <a:latin typeface="+mj-lt"/>
                <a:ea typeface="Calibri" panose="020F0502020204030204" pitchFamily="34" charset="0"/>
                <a:cs typeface="Semikolon Plus"/>
              </a:rPr>
              <a:t>Gibt es Rituale oder besondere Gewohnheiten?</a:t>
            </a:r>
          </a:p>
          <a:p>
            <a:pPr marL="269875" lvl="0" indent="-269875">
              <a:lnSpc>
                <a:spcPct val="110000"/>
              </a:lnSpc>
              <a:spcBef>
                <a:spcPts val="1500"/>
              </a:spcBef>
              <a:buClr>
                <a:schemeClr val="accent1"/>
              </a:buClr>
              <a:buFont typeface="Arial" panose="020B0604020202020204" pitchFamily="34" charset="0"/>
              <a:buChar char="•"/>
            </a:pPr>
            <a:r>
              <a:rPr lang="de-DE" sz="2000" dirty="0">
                <a:solidFill>
                  <a:schemeClr val="tx1">
                    <a:lumMod val="75000"/>
                    <a:lumOff val="25000"/>
                  </a:schemeClr>
                </a:solidFill>
                <a:effectLst/>
                <a:latin typeface="+mj-lt"/>
                <a:ea typeface="Calibri" panose="020F0502020204030204" pitchFamily="34" charset="0"/>
                <a:cs typeface="Semikolon Plus"/>
              </a:rPr>
              <a:t>Nutzen Sie Medien in der Familie gemeinsam? </a:t>
            </a:r>
            <a:br>
              <a:rPr lang="de-DE" sz="2000" dirty="0">
                <a:solidFill>
                  <a:schemeClr val="tx1">
                    <a:lumMod val="75000"/>
                    <a:lumOff val="25000"/>
                  </a:schemeClr>
                </a:solidFill>
                <a:effectLst/>
                <a:latin typeface="+mj-lt"/>
                <a:ea typeface="Calibri" panose="020F0502020204030204" pitchFamily="34" charset="0"/>
                <a:cs typeface="Semikolon Plus"/>
              </a:rPr>
            </a:br>
            <a:r>
              <a:rPr lang="de-DE" sz="2000" dirty="0">
                <a:solidFill>
                  <a:schemeClr val="tx1">
                    <a:lumMod val="75000"/>
                    <a:lumOff val="25000"/>
                  </a:schemeClr>
                </a:solidFill>
                <a:effectLst/>
                <a:latin typeface="+mj-lt"/>
                <a:ea typeface="Calibri" panose="020F0502020204030204" pitchFamily="34" charset="0"/>
                <a:cs typeface="Semikolon Plus"/>
              </a:rPr>
              <a:t>Wenn ja, welche und wie? </a:t>
            </a:r>
            <a:endParaRPr lang="de-DE" sz="2000" dirty="0" smtClean="0">
              <a:solidFill>
                <a:schemeClr val="tx1">
                  <a:lumMod val="75000"/>
                  <a:lumOff val="25000"/>
                </a:schemeClr>
              </a:solidFill>
              <a:effectLst/>
              <a:latin typeface="+mj-lt"/>
              <a:ea typeface="Calibri" panose="020F0502020204030204" pitchFamily="34" charset="0"/>
              <a:cs typeface="Semikolon Plus"/>
            </a:endParaRPr>
          </a:p>
          <a:p>
            <a:pPr marL="269875" indent="-269875"/>
            <a:r>
              <a:rPr lang="de-DE" dirty="0"/>
              <a:t>Was bedeutet es für Sie, Medien </a:t>
            </a:r>
            <a:r>
              <a:rPr lang="de-DE" dirty="0" smtClean="0"/>
              <a:t/>
            </a:r>
            <a:br>
              <a:rPr lang="de-DE" dirty="0" smtClean="0"/>
            </a:br>
            <a:r>
              <a:rPr lang="de-DE" dirty="0" smtClean="0"/>
              <a:t>gut/sinnvoll </a:t>
            </a:r>
            <a:r>
              <a:rPr lang="de-DE" dirty="0"/>
              <a:t>zu nutzen?</a:t>
            </a:r>
          </a:p>
          <a:p>
            <a:pPr marL="269875" lvl="0" indent="-269875">
              <a:lnSpc>
                <a:spcPct val="110000"/>
              </a:lnSpc>
              <a:spcBef>
                <a:spcPts val="1500"/>
              </a:spcBef>
              <a:buClr>
                <a:schemeClr val="accent1"/>
              </a:buClr>
              <a:buFont typeface="Arial" panose="020B0604020202020204" pitchFamily="34" charset="0"/>
              <a:buChar char="•"/>
            </a:pPr>
            <a:endParaRPr lang="de-DE" sz="2000" dirty="0">
              <a:solidFill>
                <a:schemeClr val="tx1">
                  <a:lumMod val="75000"/>
                  <a:lumOff val="25000"/>
                </a:schemeClr>
              </a:solidFill>
              <a:latin typeface="+mj-lt"/>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5" name="Grafik 14">
            <a:extLst>
              <a:ext uri="{FF2B5EF4-FFF2-40B4-BE49-F238E27FC236}">
                <a16:creationId xmlns:a16="http://schemas.microsoft.com/office/drawing/2014/main" id="{39A529B5-895A-60F4-DB6D-D6107B8610F6}"/>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r="8532" b="44569"/>
          <a:stretch>
            <a:fillRect/>
          </a:stretch>
        </p:blipFill>
        <p:spPr>
          <a:xfrm>
            <a:off x="6616120" y="2078317"/>
            <a:ext cx="5575881" cy="4779683"/>
          </a:xfrm>
          <a:custGeom>
            <a:avLst/>
            <a:gdLst>
              <a:gd name="connsiteX0" fmla="*/ 0 w 5575881"/>
              <a:gd name="connsiteY0" fmla="*/ 0 h 4779683"/>
              <a:gd name="connsiteX1" fmla="*/ 5575881 w 5575881"/>
              <a:gd name="connsiteY1" fmla="*/ 0 h 4779683"/>
              <a:gd name="connsiteX2" fmla="*/ 5575881 w 5575881"/>
              <a:gd name="connsiteY2" fmla="*/ 4779683 h 4779683"/>
              <a:gd name="connsiteX3" fmla="*/ 0 w 5575881"/>
              <a:gd name="connsiteY3" fmla="*/ 4779683 h 4779683"/>
            </a:gdLst>
            <a:ahLst/>
            <a:cxnLst>
              <a:cxn ang="0">
                <a:pos x="connsiteX0" y="connsiteY0"/>
              </a:cxn>
              <a:cxn ang="0">
                <a:pos x="connsiteX1" y="connsiteY1"/>
              </a:cxn>
              <a:cxn ang="0">
                <a:pos x="connsiteX2" y="connsiteY2"/>
              </a:cxn>
              <a:cxn ang="0">
                <a:pos x="connsiteX3" y="connsiteY3"/>
              </a:cxn>
            </a:cxnLst>
            <a:rect l="l" t="t" r="r" b="b"/>
            <a:pathLst>
              <a:path w="5575881" h="4779683">
                <a:moveTo>
                  <a:pt x="0" y="0"/>
                </a:moveTo>
                <a:lnTo>
                  <a:pt x="5575881" y="0"/>
                </a:lnTo>
                <a:lnTo>
                  <a:pt x="5575881" y="4779683"/>
                </a:lnTo>
                <a:lnTo>
                  <a:pt x="0" y="4779683"/>
                </a:lnTo>
                <a:close/>
              </a:path>
            </a:pathLst>
          </a:custGeom>
        </p:spPr>
      </p:pic>
      <p:pic>
        <p:nvPicPr>
          <p:cNvPr id="14" name="Grafik 13">
            <a:extLst>
              <a:ext uri="{FF2B5EF4-FFF2-40B4-BE49-F238E27FC236}">
                <a16:creationId xmlns:a16="http://schemas.microsoft.com/office/drawing/2014/main" id="{91E4C593-1E7A-EB5C-EB75-17F41F7AC010}"/>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950381" y="410025"/>
            <a:ext cx="464948" cy="540000"/>
          </a:xfrm>
          <a:prstGeom prst="rect">
            <a:avLst/>
          </a:prstGeom>
        </p:spPr>
      </p:pic>
      <p:sp>
        <p:nvSpPr>
          <p:cNvPr id="16" name="Foliennummernplatzhalter 5">
            <a:extLst>
              <a:ext uri="{FF2B5EF4-FFF2-40B4-BE49-F238E27FC236}">
                <a16:creationId xmlns:a16="http://schemas.microsoft.com/office/drawing/2014/main" id="{1B21090C-F43F-B256-A733-484C231CF1F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4</a:t>
            </a:fld>
            <a:endParaRPr lang="de-DE" dirty="0"/>
          </a:p>
        </p:txBody>
      </p:sp>
    </p:spTree>
    <p:extLst>
      <p:ext uri="{BB962C8B-B14F-4D97-AF65-F5344CB8AC3E}">
        <p14:creationId xmlns:p14="http://schemas.microsoft.com/office/powerpoint/2010/main" val="123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nhaltsplatzhalter 11">
            <a:hlinkClick r:id="rId3"/>
            <a:extLst>
              <a:ext uri="{FF2B5EF4-FFF2-40B4-BE49-F238E27FC236}">
                <a16:creationId xmlns:a16="http://schemas.microsoft.com/office/drawing/2014/main" id="{32ADC83B-202C-4FE4-76F6-2E1434BBB43F}"/>
              </a:ext>
            </a:extLst>
          </p:cNvPr>
          <p:cNvPicPr>
            <a:picLocks noGrp="1" noRot="1" noChangeAspect="1" noMove="1" noResize="1" noEditPoints="1" noAdjustHandles="1" noChangeArrowheads="1" noChangeShapeType="1" noCrop="1"/>
          </p:cNvPicPr>
          <p:nvPr>
            <p:ph sz="quarter" idx="11"/>
          </p:nvPr>
        </p:nvPicPr>
        <p:blipFill>
          <a:blip r:embed="rId4" cstate="print">
            <a:extLst>
              <a:ext uri="{28A0092B-C50C-407E-A947-70E740481C1C}">
                <a14:useLocalDpi xmlns:a14="http://schemas.microsoft.com/office/drawing/2010/main" val="0"/>
              </a:ext>
            </a:extLst>
          </a:blip>
          <a:stretch>
            <a:fillRect/>
          </a:stretch>
        </p:blipFill>
        <p:spPr>
          <a:xfrm>
            <a:off x="727075" y="2466600"/>
            <a:ext cx="6367463" cy="3070974"/>
          </a:xfrm>
        </p:spPr>
      </p:pic>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2ED3431F-0D13-6F5F-9489-F67F5439088A}"/>
              </a:ext>
            </a:extLst>
          </p:cNvPr>
          <p:cNvSpPr>
            <a:spLocks noGrp="1"/>
          </p:cNvSpPr>
          <p:nvPr>
            <p:ph type="body" sz="quarter" idx="12"/>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929388" y="413431"/>
            <a:ext cx="540000" cy="540000"/>
          </a:xfrm>
          <a:prstGeom prst="rect">
            <a:avLst/>
          </a:prstGeom>
        </p:spPr>
      </p:pic>
      <p:sp>
        <p:nvSpPr>
          <p:cNvPr id="10" name="Foliennummernplatzhalter 5">
            <a:extLst>
              <a:ext uri="{FF2B5EF4-FFF2-40B4-BE49-F238E27FC236}">
                <a16:creationId xmlns:a16="http://schemas.microsoft.com/office/drawing/2014/main" id="{C5E14168-426D-CCCE-A09D-B03902A2C93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5</a:t>
            </a:fld>
            <a:endParaRPr lang="de-DE" dirty="0"/>
          </a:p>
        </p:txBody>
      </p:sp>
      <p:pic>
        <p:nvPicPr>
          <p:cNvPr id="3" name="Grafik 2"/>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7452399" y="3035808"/>
            <a:ext cx="4188739" cy="4249296"/>
          </a:xfrm>
          <a:prstGeom prst="rect">
            <a:avLst/>
          </a:prstGeom>
        </p:spPr>
      </p:pic>
    </p:spTree>
    <p:extLst>
      <p:ext uri="{BB962C8B-B14F-4D97-AF65-F5344CB8AC3E}">
        <p14:creationId xmlns:p14="http://schemas.microsoft.com/office/powerpoint/2010/main" val="114117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546629" y="2906464"/>
            <a:ext cx="3468323" cy="757776"/>
          </a:xfrm>
        </p:spPr>
        <p:txBody>
          <a:bodyPr/>
          <a:lstStyle/>
          <a:p>
            <a:r>
              <a:rPr lang="de-DE" dirty="0">
                <a:latin typeface="Segoe UI" panose="020B0502040204020203" pitchFamily="34" charset="0"/>
                <a:cs typeface="Segoe UI" panose="020B0502040204020203" pitchFamily="34" charset="0"/>
              </a:rPr>
              <a:t>Eigene Mediennutzung bewusstmachen &amp; Vorbild </a:t>
            </a:r>
            <a:r>
              <a:rPr lang="de-DE" dirty="0" smtClean="0">
                <a:latin typeface="Segoe UI" panose="020B0502040204020203" pitchFamily="34" charset="0"/>
                <a:cs typeface="Segoe UI" panose="020B0502040204020203" pitchFamily="34" charset="0"/>
              </a:rPr>
              <a:t>sein</a:t>
            </a: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smtClean="0">
                <a:solidFill>
                  <a:schemeClr val="accent1"/>
                </a:solidFill>
                <a:latin typeface="Segoe UI" panose="020B0502040204020203" pitchFamily="34" charset="0"/>
                <a:cs typeface="Segoe UI" panose="020B0502040204020203" pitchFamily="34" charset="0"/>
              </a:rPr>
              <a:t>HANDLUNGSTIPPS zur Medienerziehung</a:t>
            </a:r>
            <a:endParaRPr lang="de-DE" sz="2800" b="1" spc="100" dirty="0">
              <a:solidFill>
                <a:schemeClr val="accent1"/>
              </a:solidFill>
              <a:latin typeface="Segoe UI" panose="020B0502040204020203" pitchFamily="34" charset="0"/>
              <a:cs typeface="Segoe UI" panose="020B0502040204020203" pitchFamily="34" charset="0"/>
            </a:endParaRP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4289186" y="1789518"/>
            <a:ext cx="3600000" cy="307777"/>
          </a:xfrm>
        </p:spPr>
        <p:txBody>
          <a:bodyPr/>
          <a:lstStyle/>
          <a:p>
            <a:r>
              <a:rPr lang="de-DE" dirty="0">
                <a:latin typeface="Segoe UI" panose="020B0502040204020203" pitchFamily="34" charset="0"/>
                <a:cs typeface="Segoe UI" panose="020B0502040204020203" pitchFamily="34" charset="0"/>
              </a:rPr>
              <a:t>Gemeinsam Regeln </a:t>
            </a:r>
            <a:r>
              <a:rPr lang="de-DE" dirty="0" smtClean="0">
                <a:latin typeface="Segoe UI" panose="020B0502040204020203" pitchFamily="34" charset="0"/>
                <a:cs typeface="Segoe UI" panose="020B0502040204020203" pitchFamily="34" charset="0"/>
              </a:rPr>
              <a:t>vereinbaren</a:t>
            </a:r>
            <a:endParaRPr lang="de-DE" dirty="0">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62814" y="2906464"/>
            <a:ext cx="3378323" cy="615553"/>
          </a:xfrm>
        </p:spPr>
        <p:txBody>
          <a:bodyPr/>
          <a:lstStyle/>
          <a:p>
            <a:r>
              <a:rPr lang="de-DE" dirty="0" smtClean="0">
                <a:latin typeface="Segoe UI" panose="020B0502040204020203" pitchFamily="34" charset="0"/>
                <a:cs typeface="Segoe UI" panose="020B0502040204020203" pitchFamily="34" charset="0"/>
              </a:rPr>
              <a:t>Sich die Gründe </a:t>
            </a:r>
            <a:r>
              <a:rPr lang="de-DE" dirty="0">
                <a:latin typeface="Segoe UI" panose="020B0502040204020203" pitchFamily="34" charset="0"/>
                <a:cs typeface="Segoe UI" panose="020B0502040204020203" pitchFamily="34" charset="0"/>
              </a:rPr>
              <a:t>der eigenen Nutzung klar </a:t>
            </a:r>
            <a:r>
              <a:rPr lang="de-DE" dirty="0" smtClean="0">
                <a:latin typeface="Segoe UI" panose="020B0502040204020203" pitchFamily="34" charset="0"/>
                <a:cs typeface="Segoe UI" panose="020B0502040204020203" pitchFamily="34" charset="0"/>
              </a:rPr>
              <a:t>machen</a:t>
            </a:r>
            <a:endParaRPr lang="de-DE" dirty="0">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5" y="4075181"/>
            <a:ext cx="3378323" cy="615553"/>
          </a:xfrm>
        </p:spPr>
        <p:txBody>
          <a:bodyPr/>
          <a:lstStyle/>
          <a:p>
            <a:r>
              <a:rPr lang="de-DE" dirty="0" smtClean="0">
                <a:latin typeface="Segoe UI" panose="020B0502040204020203" pitchFamily="34" charset="0"/>
                <a:cs typeface="Segoe UI" panose="020B0502040204020203" pitchFamily="34" charset="0"/>
              </a:rPr>
              <a:t>Zeitfallen </a:t>
            </a:r>
            <a:r>
              <a:rPr lang="de-DE" dirty="0">
                <a:latin typeface="Segoe UI" panose="020B0502040204020203" pitchFamily="34" charset="0"/>
                <a:cs typeface="Segoe UI" panose="020B0502040204020203" pitchFamily="34" charset="0"/>
              </a:rPr>
              <a:t>vermeiden</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und Grenzen </a:t>
            </a:r>
            <a:r>
              <a:rPr lang="de-DE" dirty="0" smtClean="0">
                <a:latin typeface="Segoe UI" panose="020B0502040204020203" pitchFamily="34" charset="0"/>
                <a:cs typeface="Segoe UI" panose="020B0502040204020203" pitchFamily="34" charset="0"/>
              </a:rPr>
              <a:t>setzen</a:t>
            </a:r>
            <a:endParaRPr lang="de-DE" dirty="0">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307777"/>
          </a:xfrm>
        </p:spPr>
        <p:txBody>
          <a:bodyPr/>
          <a:lstStyle/>
          <a:p>
            <a:r>
              <a:rPr lang="de-DE" dirty="0">
                <a:latin typeface="Segoe UI" panose="020B0502040204020203" pitchFamily="34" charset="0"/>
                <a:cs typeface="Segoe UI" panose="020B0502040204020203" pitchFamily="34" charset="0"/>
              </a:rPr>
              <a:t>Abwechslung bie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4327" y="4229068"/>
            <a:ext cx="3378323" cy="307777"/>
          </a:xfrm>
        </p:spPr>
        <p:txBody>
          <a:bodyPr/>
          <a:lstStyle/>
          <a:p>
            <a:r>
              <a:rPr lang="de-DE" dirty="0"/>
              <a:t> </a:t>
            </a:r>
            <a:r>
              <a:rPr lang="de-DE" dirty="0">
                <a:latin typeface="Segoe UI" panose="020B0502040204020203" pitchFamily="34" charset="0"/>
                <a:cs typeface="Segoe UI" panose="020B0502040204020203" pitchFamily="34" charset="0"/>
              </a:rPr>
              <a:t>Stress </a:t>
            </a:r>
            <a:r>
              <a:rPr lang="de-DE" dirty="0" smtClean="0">
                <a:latin typeface="Segoe UI" panose="020B0502040204020203" pitchFamily="34" charset="0"/>
                <a:cs typeface="Segoe UI" panose="020B0502040204020203" pitchFamily="34" charset="0"/>
              </a:rPr>
              <a:t>reduzieren</a:t>
            </a:r>
            <a:endParaRPr lang="de-DE" dirty="0">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latin typeface="Segoe UI" panose="020B0502040204020203" pitchFamily="34" charset="0"/>
                <a:cs typeface="Segoe UI" panose="020B0502040204020203" pitchFamily="34" charset="0"/>
              </a:rPr>
              <a:t>Medien gemeinsam </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nutzen</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26" name="Foliennummernplatzhalter 5">
            <a:extLst>
              <a:ext uri="{FF2B5EF4-FFF2-40B4-BE49-F238E27FC236}">
                <a16:creationId xmlns:a16="http://schemas.microsoft.com/office/drawing/2014/main" id="{E793045B-E601-6816-0EC8-DEA56177B1D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6</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3" name="Freihandform: Form 2">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 name="Freihandform: Form 3">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 name="Gruppieren 4">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6" name="Ellipse 5">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8" name="Gruppieren 7">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9" name="Gruppieren 8">
            <a:extLst>
              <a:ext uri="{FF2B5EF4-FFF2-40B4-BE49-F238E27FC236}">
                <a16:creationId xmlns:a16="http://schemas.microsoft.com/office/drawing/2014/main" id="{4C50121B-A634-9748-233B-C30BEAE94662}"/>
              </a:ext>
            </a:extLst>
          </p:cNvPr>
          <p:cNvGrpSpPr/>
          <p:nvPr/>
        </p:nvGrpSpPr>
        <p:grpSpPr>
          <a:xfrm>
            <a:off x="5639186" y="2210344"/>
            <a:ext cx="900000" cy="900000"/>
            <a:chOff x="5639186" y="221034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5639186" y="221034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5729186" y="230034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sp>
          <p:nvSpPr>
            <p:cNvPr id="68" name="Freihandform: Form 67">
              <a:extLst>
                <a:ext uri="{FF2B5EF4-FFF2-40B4-BE49-F238E27FC236}">
                  <a16:creationId xmlns:a16="http://schemas.microsoft.com/office/drawing/2014/main" id="{90294D06-2CA3-FC62-C561-00F66370BCC6}"/>
                </a:ext>
              </a:extLst>
            </p:cNvPr>
            <p:cNvSpPr/>
            <p:nvPr/>
          </p:nvSpPr>
          <p:spPr>
            <a:xfrm>
              <a:off x="5729186" y="2300344"/>
              <a:ext cx="720000" cy="7200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5729186" y="2300344"/>
              <a:ext cx="360000" cy="7200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pic>
        <p:nvPicPr>
          <p:cNvPr id="54" name="Grafik 53">
            <a:hlinkClick r:id="rId5"/>
          </p:cNvPr>
          <p:cNvPicPr>
            <a:picLocks noChangeAspect="1"/>
          </p:cNvPicPr>
          <p:nvPr/>
        </p:nvPicPr>
        <p:blipFill>
          <a:blip r:embed="rId6"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14215" y="1813799"/>
            <a:ext cx="232964" cy="231144"/>
          </a:xfrm>
          <a:prstGeom prst="rect">
            <a:avLst/>
          </a:prstGeom>
        </p:spPr>
      </p:pic>
      <p:sp>
        <p:nvSpPr>
          <p:cNvPr id="62" name="Abgerundetes Rechteck 61"/>
          <p:cNvSpPr/>
          <p:nvPr/>
        </p:nvSpPr>
        <p:spPr>
          <a:xfrm>
            <a:off x="10962331" y="5399998"/>
            <a:ext cx="1085467" cy="109482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hlinkClick r:id="rId7"/>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039858" y="5481368"/>
            <a:ext cx="928800" cy="928800"/>
          </a:xfrm>
          <a:prstGeom prst="rect">
            <a:avLst/>
          </a:prstGeom>
        </p:spPr>
      </p:pic>
    </p:spTree>
    <p:extLst>
      <p:ext uri="{BB962C8B-B14F-4D97-AF65-F5344CB8AC3E}">
        <p14:creationId xmlns:p14="http://schemas.microsoft.com/office/powerpoint/2010/main" val="564718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7" name="Inhaltsplatzhalter 4" descr="Ein Bild, das Text, Menschliches Gesicht, Kleidung, Cartoon enthält.&#10;&#10;Automatisch generierte Beschreibung">
            <a:extLst>
              <a:ext uri="{FF2B5EF4-FFF2-40B4-BE49-F238E27FC236}">
                <a16:creationId xmlns:a16="http://schemas.microsoft.com/office/drawing/2014/main" id="{BC560FE0-3617-F04D-2CCF-2E0AF8B7CB3E}"/>
              </a:ext>
            </a:extLst>
          </p:cNvPr>
          <p:cNvPicPr>
            <a:picLocks noChangeAspect="1"/>
          </p:cNvPicPr>
          <p:nvPr/>
        </p:nvPicPr>
        <p:blipFill rotWithShape="1">
          <a:blip r:embed="rId3">
            <a:extLst>
              <a:ext uri="{28A0092B-C50C-407E-A947-70E740481C1C}">
                <a14:useLocalDpi xmlns:a14="http://schemas.microsoft.com/office/drawing/2010/main" val="0"/>
              </a:ext>
            </a:extLst>
          </a:blip>
          <a:srcRect l="2007" t="1449" r="2088" b="68741"/>
          <a:stretch/>
        </p:blipFill>
        <p:spPr>
          <a:xfrm>
            <a:off x="550863" y="1674145"/>
            <a:ext cx="10541221" cy="4634580"/>
          </a:xfrm>
          <a:prstGeom prst="rect">
            <a:avLst/>
          </a:prstGeom>
        </p:spPr>
      </p:pic>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7</a:t>
            </a:fld>
            <a:endParaRPr lang="de-DE" dirty="0"/>
          </a:p>
        </p:txBody>
      </p:sp>
    </p:spTree>
    <p:extLst>
      <p:ext uri="{BB962C8B-B14F-4D97-AF65-F5344CB8AC3E}">
        <p14:creationId xmlns:p14="http://schemas.microsoft.com/office/powerpoint/2010/main" val="211252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60AC8857-A091-1256-7C5D-3F146A318B91}"/>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5" name="Textplatzhalter 4">
            <a:extLst>
              <a:ext uri="{FF2B5EF4-FFF2-40B4-BE49-F238E27FC236}">
                <a16:creationId xmlns:a16="http://schemas.microsoft.com/office/drawing/2014/main" id="{FC94D030-1203-BD05-271D-9DF85899F129}"/>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6" name="Inhaltsplatzhalter 4" descr="Ein Bild, das Text, Menschliches Gesicht, Kleidung, Cartoon enthält.&#10;&#10;Automatisch generierte Beschreibung">
            <a:extLst>
              <a:ext uri="{FF2B5EF4-FFF2-40B4-BE49-F238E27FC236}">
                <a16:creationId xmlns:a16="http://schemas.microsoft.com/office/drawing/2014/main" id="{293FED08-E5A9-B17B-FECA-C69F8CF90406}"/>
              </a:ext>
            </a:extLst>
          </p:cNvPr>
          <p:cNvPicPr>
            <a:picLocks noChangeAspect="1"/>
          </p:cNvPicPr>
          <p:nvPr/>
        </p:nvPicPr>
        <p:blipFill rotWithShape="1">
          <a:blip r:embed="rId3">
            <a:extLst>
              <a:ext uri="{28A0092B-C50C-407E-A947-70E740481C1C}">
                <a14:useLocalDpi xmlns:a14="http://schemas.microsoft.com/office/drawing/2010/main" val="0"/>
              </a:ext>
            </a:extLst>
          </a:blip>
          <a:srcRect l="2240" t="31095" r="2150" b="34159"/>
          <a:stretch/>
        </p:blipFill>
        <p:spPr>
          <a:xfrm>
            <a:off x="558483" y="1665289"/>
            <a:ext cx="9032934" cy="4643436"/>
          </a:xfrm>
          <a:prstGeom prst="rect">
            <a:avLst/>
          </a:prstGeom>
        </p:spPr>
      </p:pic>
      <p:pic>
        <p:nvPicPr>
          <p:cNvPr id="7" name="Grafik 6">
            <a:extLst>
              <a:ext uri="{FF2B5EF4-FFF2-40B4-BE49-F238E27FC236}">
                <a16:creationId xmlns:a16="http://schemas.microsoft.com/office/drawing/2014/main" id="{8B0B66F1-78B8-DB80-B300-DC721EA4BDF2}"/>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29388" y="413431"/>
            <a:ext cx="540000" cy="540000"/>
          </a:xfrm>
          <a:prstGeom prst="rect">
            <a:avLst/>
          </a:prstGeom>
        </p:spPr>
      </p:pic>
      <p:sp>
        <p:nvSpPr>
          <p:cNvPr id="8" name="Foliennummernplatzhalter 5">
            <a:extLst>
              <a:ext uri="{FF2B5EF4-FFF2-40B4-BE49-F238E27FC236}">
                <a16:creationId xmlns:a16="http://schemas.microsoft.com/office/drawing/2014/main" id="{B7BA2BB2-F049-1E6A-6BC0-25060C03F8CD}"/>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8</a:t>
            </a:fld>
            <a:endParaRPr lang="de-DE" dirty="0"/>
          </a:p>
        </p:txBody>
      </p:sp>
    </p:spTree>
    <p:extLst>
      <p:ext uri="{BB962C8B-B14F-4D97-AF65-F5344CB8AC3E}">
        <p14:creationId xmlns:p14="http://schemas.microsoft.com/office/powerpoint/2010/main" val="243836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950D610-5B3F-6582-D833-2742A7652990}"/>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3" name="Textplatzhalter 2">
            <a:extLst>
              <a:ext uri="{FF2B5EF4-FFF2-40B4-BE49-F238E27FC236}">
                <a16:creationId xmlns:a16="http://schemas.microsoft.com/office/drawing/2014/main" id="{D2A202D7-90A1-983C-34BD-996FAFBDC712}"/>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4" name="Inhaltsplatzhalter 4" descr="Ein Bild, das Text, Menschliches Gesicht, Kleidung, Cartoon enthält.&#10;&#10;Automatisch generierte Beschreibung">
            <a:extLst>
              <a:ext uri="{FF2B5EF4-FFF2-40B4-BE49-F238E27FC236}">
                <a16:creationId xmlns:a16="http://schemas.microsoft.com/office/drawing/2014/main" id="{CE007483-A09B-D9D8-95A4-44D7FFA07D03}"/>
              </a:ext>
            </a:extLst>
          </p:cNvPr>
          <p:cNvPicPr>
            <a:picLocks noChangeAspect="1"/>
          </p:cNvPicPr>
          <p:nvPr/>
        </p:nvPicPr>
        <p:blipFill rotWithShape="1">
          <a:blip r:embed="rId3">
            <a:extLst>
              <a:ext uri="{28A0092B-C50C-407E-A947-70E740481C1C}">
                <a14:useLocalDpi xmlns:a14="http://schemas.microsoft.com/office/drawing/2010/main" val="0"/>
              </a:ext>
            </a:extLst>
          </a:blip>
          <a:srcRect l="2025" t="65685" r="2071" b="1520"/>
          <a:stretch/>
        </p:blipFill>
        <p:spPr>
          <a:xfrm>
            <a:off x="558483" y="1673151"/>
            <a:ext cx="9583502" cy="4635571"/>
          </a:xfrm>
          <a:prstGeom prst="rect">
            <a:avLst/>
          </a:prstGeom>
        </p:spPr>
      </p:pic>
      <p:pic>
        <p:nvPicPr>
          <p:cNvPr id="5" name="Grafik 4">
            <a:extLst>
              <a:ext uri="{FF2B5EF4-FFF2-40B4-BE49-F238E27FC236}">
                <a16:creationId xmlns:a16="http://schemas.microsoft.com/office/drawing/2014/main" id="{F0029C58-8116-6DFC-1455-046DBE2ECA4F}"/>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29388" y="413431"/>
            <a:ext cx="540000" cy="540000"/>
          </a:xfrm>
          <a:prstGeom prst="rect">
            <a:avLst/>
          </a:prstGeom>
        </p:spPr>
      </p:pic>
      <p:sp>
        <p:nvSpPr>
          <p:cNvPr id="6" name="Foliennummernplatzhalter 5">
            <a:extLst>
              <a:ext uri="{FF2B5EF4-FFF2-40B4-BE49-F238E27FC236}">
                <a16:creationId xmlns:a16="http://schemas.microsoft.com/office/drawing/2014/main" id="{09897858-C43A-04EA-69EB-354BD2908E9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9</a:t>
            </a:fld>
            <a:endParaRPr lang="de-DE" dirty="0"/>
          </a:p>
        </p:txBody>
      </p:sp>
    </p:spTree>
    <p:extLst>
      <p:ext uri="{BB962C8B-B14F-4D97-AF65-F5344CB8AC3E}">
        <p14:creationId xmlns:p14="http://schemas.microsoft.com/office/powerpoint/2010/main" val="207046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2F4CA1-FA53-45F9-B408-EE067BF1B69C}">
  <ds:schemaRefs>
    <ds:schemaRef ds:uri="http://schemas.openxmlformats.org/package/2006/metadata/core-properties"/>
    <ds:schemaRef ds:uri="5a4219a2-45cf-45bf-91bc-5ddc1db9b26b"/>
    <ds:schemaRef ds:uri="http://schemas.microsoft.com/office/2006/documentManagement/types"/>
    <ds:schemaRef ds:uri="http://purl.org/dc/terms/"/>
    <ds:schemaRef ds:uri="http://purl.org/dc/elements/1.1/"/>
    <ds:schemaRef ds:uri="http://schemas.microsoft.com/office/2006/metadata/properties"/>
    <ds:schemaRef ds:uri="http://purl.org/dc/dcmitype/"/>
    <ds:schemaRef ds:uri="http://schemas.microsoft.com/office/infopath/2007/PartnerControls"/>
    <ds:schemaRef ds:uri="44694c35-30c0-4ff0-8b82-8424709eaf3a"/>
    <ds:schemaRef ds:uri="http://www.w3.org/XML/1998/namespace"/>
  </ds:schemaRefs>
</ds:datastoreItem>
</file>

<file path=customXml/itemProps3.xml><?xml version="1.0" encoding="utf-8"?>
<ds:datastoreItem xmlns:ds="http://schemas.openxmlformats.org/officeDocument/2006/customXml" ds:itemID="{140AEF7B-71BA-4B38-A2DA-AEC8298F14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184</Words>
  <Application>Microsoft Office PowerPoint</Application>
  <PresentationFormat>Breitbild</PresentationFormat>
  <Paragraphs>273</Paragraphs>
  <Slides>24</Slides>
  <Notes>24</Notes>
  <HiddenSlides>8</HiddenSlides>
  <MMClips>1</MMClips>
  <ScaleCrop>false</ScaleCrop>
  <HeadingPairs>
    <vt:vector size="8" baseType="variant">
      <vt:variant>
        <vt:lpstr>Verwendete Schriftarten</vt:lpstr>
      </vt:variant>
      <vt:variant>
        <vt:i4>6</vt:i4>
      </vt:variant>
      <vt:variant>
        <vt:lpstr>Design</vt:lpstr>
      </vt:variant>
      <vt:variant>
        <vt:i4>3</vt:i4>
      </vt:variant>
      <vt:variant>
        <vt:lpstr>Eingebettete OLE-Server</vt:lpstr>
      </vt:variant>
      <vt:variant>
        <vt:i4>1</vt:i4>
      </vt:variant>
      <vt:variant>
        <vt:lpstr>Folientitel</vt:lpstr>
      </vt:variant>
      <vt:variant>
        <vt:i4>24</vt:i4>
      </vt:variant>
    </vt:vector>
  </HeadingPairs>
  <TitlesOfParts>
    <vt:vector size="34" baseType="lpstr">
      <vt:lpstr>Aptos</vt:lpstr>
      <vt:lpstr>Arial</vt:lpstr>
      <vt:lpstr>Calibri</vt:lpstr>
      <vt:lpstr>Segoe UI</vt:lpstr>
      <vt:lpstr>Semikolon Plus</vt:lpstr>
      <vt:lpstr>Times New Roman</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127</cp:revision>
  <dcterms:created xsi:type="dcterms:W3CDTF">2024-05-08T06:34:22Z</dcterms:created>
  <dcterms:modified xsi:type="dcterms:W3CDTF">2025-03-26T11:0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